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12" r:id="rId4"/>
  </p:sldMasterIdLst>
  <p:notesMasterIdLst>
    <p:notesMasterId r:id="rId42"/>
  </p:notesMasterIdLst>
  <p:sldIdLst>
    <p:sldId id="256" r:id="rId5"/>
    <p:sldId id="268" r:id="rId6"/>
    <p:sldId id="269" r:id="rId7"/>
    <p:sldId id="270" r:id="rId8"/>
    <p:sldId id="333" r:id="rId9"/>
    <p:sldId id="271" r:id="rId10"/>
    <p:sldId id="336" r:id="rId11"/>
    <p:sldId id="337" r:id="rId12"/>
    <p:sldId id="338" r:id="rId13"/>
    <p:sldId id="339" r:id="rId14"/>
    <p:sldId id="361" r:id="rId15"/>
    <p:sldId id="362" r:id="rId16"/>
    <p:sldId id="363" r:id="rId17"/>
    <p:sldId id="342" r:id="rId18"/>
    <p:sldId id="343" r:id="rId19"/>
    <p:sldId id="344" r:id="rId20"/>
    <p:sldId id="345" r:id="rId21"/>
    <p:sldId id="346" r:id="rId22"/>
    <p:sldId id="347" r:id="rId23"/>
    <p:sldId id="348" r:id="rId24"/>
    <p:sldId id="349" r:id="rId25"/>
    <p:sldId id="350" r:id="rId26"/>
    <p:sldId id="351" r:id="rId27"/>
    <p:sldId id="352" r:id="rId28"/>
    <p:sldId id="353" r:id="rId29"/>
    <p:sldId id="354" r:id="rId30"/>
    <p:sldId id="355" r:id="rId31"/>
    <p:sldId id="356" r:id="rId32"/>
    <p:sldId id="357" r:id="rId33"/>
    <p:sldId id="358" r:id="rId34"/>
    <p:sldId id="313" r:id="rId35"/>
    <p:sldId id="304" r:id="rId36"/>
    <p:sldId id="305" r:id="rId37"/>
    <p:sldId id="306" r:id="rId38"/>
    <p:sldId id="364" r:id="rId39"/>
    <p:sldId id="300" r:id="rId40"/>
    <p:sldId id="301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5174"/>
    <a:srgbClr val="FF6C11"/>
    <a:srgbClr val="E463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81" autoAdjust="0"/>
    <p:restoredTop sz="94384" autoAdjust="0"/>
  </p:normalViewPr>
  <p:slideViewPr>
    <p:cSldViewPr snapToGrid="0" snapToObjects="1">
      <p:cViewPr varScale="1">
        <p:scale>
          <a:sx n="70" d="100"/>
          <a:sy n="70" d="100"/>
        </p:scale>
        <p:origin x="684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96" d="100"/>
        <a:sy n="19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B126BB-5DB1-7740-B7E2-6D584187601F}" type="datetimeFigureOut">
              <a:rPr lang="en-US" smtClean="0"/>
              <a:t>3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94F707-D0F9-CC4D-BC24-D90835D71F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9517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k Titl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0" y="0"/>
            <a:ext cx="1219199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12192000" cy="6868886"/>
          </a:xfrm>
          <a:prstGeom prst="rect">
            <a:avLst/>
          </a:prstGeom>
          <a:gradFill>
            <a:gsLst>
              <a:gs pos="100000">
                <a:schemeClr val="accent6">
                  <a:alpha val="70000"/>
                </a:schemeClr>
              </a:gs>
              <a:gs pos="0">
                <a:srgbClr val="059568">
                  <a:alpha val="70000"/>
                </a:srgbClr>
              </a:gs>
              <a:gs pos="0">
                <a:srgbClr val="059169"/>
              </a:gs>
              <a:gs pos="0">
                <a:srgbClr val="07A163"/>
              </a:gs>
              <a:gs pos="0">
                <a:srgbClr val="069F64"/>
              </a:gs>
              <a:gs pos="0">
                <a:srgbClr val="069C65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4302" y="6168786"/>
            <a:ext cx="1629030" cy="340711"/>
          </a:xfrm>
          <a:prstGeom prst="rect">
            <a:avLst/>
          </a:prstGeom>
        </p:spPr>
      </p:pic>
      <p:sp>
        <p:nvSpPr>
          <p:cNvPr id="19" name="Oval 18"/>
          <p:cNvSpPr/>
          <p:nvPr userDrawn="1"/>
        </p:nvSpPr>
        <p:spPr>
          <a:xfrm>
            <a:off x="-296776" y="5161041"/>
            <a:ext cx="3200400" cy="3200400"/>
          </a:xfrm>
          <a:prstGeom prst="ellipse">
            <a:avLst/>
          </a:prstGeom>
          <a:noFill/>
          <a:ln w="152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7"/>
          <p:cNvSpPr>
            <a:spLocks noChangeArrowheads="1"/>
          </p:cNvSpPr>
          <p:nvPr userDrawn="1"/>
        </p:nvSpPr>
        <p:spPr bwMode="auto">
          <a:xfrm rot="10293731">
            <a:off x="2191626" y="5143151"/>
            <a:ext cx="2715244" cy="5437340"/>
          </a:xfrm>
          <a:custGeom>
            <a:avLst/>
            <a:gdLst>
              <a:gd name="T0" fmla="*/ 10484 w 10485"/>
              <a:gd name="T1" fmla="*/ 10372 h 21000"/>
              <a:gd name="T2" fmla="*/ 10484 w 10485"/>
              <a:gd name="T3" fmla="*/ 10372 h 21000"/>
              <a:gd name="T4" fmla="*/ 7396 w 10485"/>
              <a:gd name="T5" fmla="*/ 3033 h 21000"/>
              <a:gd name="T6" fmla="*/ 85 w 10485"/>
              <a:gd name="T7" fmla="*/ 0 h 21000"/>
              <a:gd name="T8" fmla="*/ 28 w 10485"/>
              <a:gd name="T9" fmla="*/ 0 h 21000"/>
              <a:gd name="T10" fmla="*/ 0 w 10485"/>
              <a:gd name="T11" fmla="*/ 56 h 21000"/>
              <a:gd name="T12" fmla="*/ 28 w 10485"/>
              <a:gd name="T13" fmla="*/ 85 h 21000"/>
              <a:gd name="T14" fmla="*/ 28 w 10485"/>
              <a:gd name="T15" fmla="*/ 85 h 21000"/>
              <a:gd name="T16" fmla="*/ 85 w 10485"/>
              <a:gd name="T17" fmla="*/ 85 h 21000"/>
              <a:gd name="T18" fmla="*/ 7339 w 10485"/>
              <a:gd name="T19" fmla="*/ 3089 h 21000"/>
              <a:gd name="T20" fmla="*/ 10400 w 10485"/>
              <a:gd name="T21" fmla="*/ 10372 h 21000"/>
              <a:gd name="T22" fmla="*/ 7396 w 10485"/>
              <a:gd name="T23" fmla="*/ 17712 h 21000"/>
              <a:gd name="T24" fmla="*/ 141 w 10485"/>
              <a:gd name="T25" fmla="*/ 20744 h 21000"/>
              <a:gd name="T26" fmla="*/ 255 w 10485"/>
              <a:gd name="T27" fmla="*/ 20659 h 21000"/>
              <a:gd name="T28" fmla="*/ 255 w 10485"/>
              <a:gd name="T29" fmla="*/ 20603 h 21000"/>
              <a:gd name="T30" fmla="*/ 199 w 10485"/>
              <a:gd name="T31" fmla="*/ 20603 h 21000"/>
              <a:gd name="T32" fmla="*/ 28 w 10485"/>
              <a:gd name="T33" fmla="*/ 20772 h 21000"/>
              <a:gd name="T34" fmla="*/ 0 w 10485"/>
              <a:gd name="T35" fmla="*/ 20800 h 21000"/>
              <a:gd name="T36" fmla="*/ 28 w 10485"/>
              <a:gd name="T37" fmla="*/ 20830 h 21000"/>
              <a:gd name="T38" fmla="*/ 199 w 10485"/>
              <a:gd name="T39" fmla="*/ 20999 h 21000"/>
              <a:gd name="T40" fmla="*/ 227 w 10485"/>
              <a:gd name="T41" fmla="*/ 20999 h 21000"/>
              <a:gd name="T42" fmla="*/ 255 w 10485"/>
              <a:gd name="T43" fmla="*/ 20999 h 21000"/>
              <a:gd name="T44" fmla="*/ 255 w 10485"/>
              <a:gd name="T45" fmla="*/ 20942 h 21000"/>
              <a:gd name="T46" fmla="*/ 141 w 10485"/>
              <a:gd name="T47" fmla="*/ 20830 h 21000"/>
              <a:gd name="T48" fmla="*/ 7453 w 10485"/>
              <a:gd name="T49" fmla="*/ 17769 h 21000"/>
              <a:gd name="T50" fmla="*/ 10484 w 10485"/>
              <a:gd name="T51" fmla="*/ 10372 h 2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0485" h="21000">
                <a:moveTo>
                  <a:pt x="10484" y="10372"/>
                </a:moveTo>
                <a:lnTo>
                  <a:pt x="10484" y="10372"/>
                </a:lnTo>
                <a:cubicBezTo>
                  <a:pt x="10484" y="7595"/>
                  <a:pt x="9380" y="4988"/>
                  <a:pt x="7396" y="3033"/>
                </a:cubicBezTo>
                <a:cubicBezTo>
                  <a:pt x="5441" y="1076"/>
                  <a:pt x="2834" y="0"/>
                  <a:pt x="85" y="0"/>
                </a:cubicBezTo>
                <a:cubicBezTo>
                  <a:pt x="56" y="0"/>
                  <a:pt x="56" y="0"/>
                  <a:pt x="28" y="0"/>
                </a:cubicBezTo>
                <a:cubicBezTo>
                  <a:pt x="0" y="28"/>
                  <a:pt x="0" y="28"/>
                  <a:pt x="0" y="56"/>
                </a:cubicBezTo>
                <a:cubicBezTo>
                  <a:pt x="0" y="85"/>
                  <a:pt x="0" y="85"/>
                  <a:pt x="28" y="85"/>
                </a:cubicBezTo>
                <a:lnTo>
                  <a:pt x="28" y="85"/>
                </a:lnTo>
                <a:cubicBezTo>
                  <a:pt x="56" y="85"/>
                  <a:pt x="56" y="85"/>
                  <a:pt x="85" y="85"/>
                </a:cubicBezTo>
                <a:cubicBezTo>
                  <a:pt x="2806" y="85"/>
                  <a:pt x="5413" y="1162"/>
                  <a:pt x="7339" y="3089"/>
                </a:cubicBezTo>
                <a:cubicBezTo>
                  <a:pt x="9294" y="5044"/>
                  <a:pt x="10400" y="7623"/>
                  <a:pt x="10400" y="10372"/>
                </a:cubicBezTo>
                <a:cubicBezTo>
                  <a:pt x="10428" y="13149"/>
                  <a:pt x="9351" y="15757"/>
                  <a:pt x="7396" y="17712"/>
                </a:cubicBezTo>
                <a:cubicBezTo>
                  <a:pt x="5469" y="19667"/>
                  <a:pt x="2890" y="20744"/>
                  <a:pt x="141" y="20744"/>
                </a:cubicBezTo>
                <a:cubicBezTo>
                  <a:pt x="255" y="20659"/>
                  <a:pt x="255" y="20659"/>
                  <a:pt x="255" y="20659"/>
                </a:cubicBezTo>
                <a:cubicBezTo>
                  <a:pt x="255" y="20631"/>
                  <a:pt x="255" y="20603"/>
                  <a:pt x="255" y="20603"/>
                </a:cubicBezTo>
                <a:cubicBezTo>
                  <a:pt x="227" y="20574"/>
                  <a:pt x="199" y="20574"/>
                  <a:pt x="199" y="20603"/>
                </a:cubicBezTo>
                <a:cubicBezTo>
                  <a:pt x="28" y="20772"/>
                  <a:pt x="28" y="20772"/>
                  <a:pt x="28" y="20772"/>
                </a:cubicBezTo>
                <a:cubicBezTo>
                  <a:pt x="0" y="20772"/>
                  <a:pt x="0" y="20800"/>
                  <a:pt x="0" y="20800"/>
                </a:cubicBezTo>
                <a:cubicBezTo>
                  <a:pt x="0" y="20800"/>
                  <a:pt x="0" y="20830"/>
                  <a:pt x="28" y="20830"/>
                </a:cubicBezTo>
                <a:cubicBezTo>
                  <a:pt x="199" y="20999"/>
                  <a:pt x="199" y="20999"/>
                  <a:pt x="199" y="20999"/>
                </a:cubicBezTo>
                <a:cubicBezTo>
                  <a:pt x="199" y="20999"/>
                  <a:pt x="199" y="20999"/>
                  <a:pt x="227" y="20999"/>
                </a:cubicBezTo>
                <a:lnTo>
                  <a:pt x="255" y="20999"/>
                </a:lnTo>
                <a:cubicBezTo>
                  <a:pt x="255" y="20971"/>
                  <a:pt x="255" y="20971"/>
                  <a:pt x="255" y="20942"/>
                </a:cubicBezTo>
                <a:cubicBezTo>
                  <a:pt x="141" y="20830"/>
                  <a:pt x="141" y="20830"/>
                  <a:pt x="141" y="20830"/>
                </a:cubicBezTo>
                <a:cubicBezTo>
                  <a:pt x="2919" y="20830"/>
                  <a:pt x="5526" y="19724"/>
                  <a:pt x="7453" y="17769"/>
                </a:cubicBezTo>
                <a:cubicBezTo>
                  <a:pt x="9436" y="15785"/>
                  <a:pt x="10484" y="13177"/>
                  <a:pt x="10484" y="10372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19233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6000" spc="-150">
                <a:solidFill>
                  <a:schemeClr val="bg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</a:lstStyle>
          <a:p>
            <a:r>
              <a:rPr lang="en-US" dirty="0"/>
              <a:t>Deck Title Option 1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22638"/>
            <a:ext cx="9144000" cy="47466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800" b="1" i="0" baseline="0">
                <a:solidFill>
                  <a:schemeClr val="bg1"/>
                </a:solidFill>
                <a:latin typeface="Open Sans Semibold" charset="0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ext style line 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3797300"/>
            <a:ext cx="9144000" cy="846138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000" b="0" i="0" baseline="0">
                <a:solidFill>
                  <a:schemeClr val="bg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z="2000" b="0" i="0" dirty="0">
                <a:latin typeface="Open Sans" charset="0"/>
                <a:ea typeface="Open Sans" charset="0"/>
                <a:cs typeface="Open Sans" charset="0"/>
              </a:rPr>
              <a:t>Subtext style line 2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Media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1" y="1193801"/>
            <a:ext cx="3657600" cy="1473200"/>
          </a:xfrm>
          <a:prstGeom prst="rect">
            <a:avLst/>
          </a:prstGeom>
        </p:spPr>
        <p:txBody>
          <a:bodyPr wrap="square" lIns="182880" rIns="182880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4800" b="0" i="0" spc="-150" baseline="0">
                <a:solidFill>
                  <a:schemeClr val="accent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arge media with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3544" y="457200"/>
            <a:ext cx="3940556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882900"/>
            <a:ext cx="3657601" cy="2933700"/>
          </a:xfrm>
          <a:prstGeom prst="rect">
            <a:avLst/>
          </a:prstGeom>
        </p:spPr>
        <p:txBody>
          <a:bodyPr lIns="182880" rIns="182880">
            <a:normAutofit/>
          </a:bodyPr>
          <a:lstStyle>
            <a:lvl1pPr marL="0" indent="0">
              <a:lnSpc>
                <a:spcPct val="140000"/>
              </a:lnSpc>
              <a:buNone/>
              <a:defRPr sz="1800"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quam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pharetra. Class </a:t>
            </a:r>
            <a:r>
              <a:rPr lang="en-US" dirty="0" err="1"/>
              <a:t>aptent</a:t>
            </a:r>
            <a:r>
              <a:rPr lang="en-US" dirty="0"/>
              <a:t> </a:t>
            </a:r>
            <a:r>
              <a:rPr lang="en-US" dirty="0" err="1"/>
              <a:t>taciti</a:t>
            </a:r>
            <a:r>
              <a:rPr lang="en-US" dirty="0"/>
              <a:t> </a:t>
            </a:r>
            <a:r>
              <a:rPr lang="en-US" dirty="0" err="1"/>
              <a:t>sociosqu</a:t>
            </a:r>
            <a:r>
              <a:rPr lang="en-US" dirty="0"/>
              <a:t> ad </a:t>
            </a:r>
            <a:r>
              <a:rPr lang="en-US" dirty="0" err="1"/>
              <a:t>litora</a:t>
            </a:r>
            <a:r>
              <a:rPr lang="en-US" dirty="0"/>
              <a:t> </a:t>
            </a:r>
            <a:r>
              <a:rPr lang="en-US" dirty="0" err="1"/>
              <a:t>torquent</a:t>
            </a:r>
            <a:r>
              <a:rPr lang="en-US" dirty="0"/>
              <a:t> per </a:t>
            </a:r>
            <a:r>
              <a:rPr lang="en-US" dirty="0" err="1"/>
              <a:t>conubia</a:t>
            </a:r>
            <a:r>
              <a:rPr lang="en-US" dirty="0"/>
              <a:t> nostra, per </a:t>
            </a:r>
            <a:r>
              <a:rPr lang="en-US" dirty="0" err="1"/>
              <a:t>inceptos</a:t>
            </a:r>
            <a:r>
              <a:rPr lang="en-US" dirty="0"/>
              <a:t> </a:t>
            </a:r>
            <a:r>
              <a:rPr lang="en-US" dirty="0" err="1"/>
              <a:t>himenaeos</a:t>
            </a:r>
            <a:r>
              <a:rPr lang="en-US" dirty="0"/>
              <a:t>. 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105400" y="256033"/>
            <a:ext cx="7086600" cy="557784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Click an icon below to add media</a:t>
            </a: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Width Media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3544" y="457200"/>
            <a:ext cx="9756648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914400" y="2871216"/>
            <a:ext cx="10439400" cy="2962656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Click an icon below to add media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1115568"/>
            <a:ext cx="9821682" cy="1513332"/>
          </a:xfrm>
          <a:prstGeom prst="rect">
            <a:avLst/>
          </a:prstGeom>
        </p:spPr>
        <p:txBody>
          <a:bodyPr wrap="square" lIns="182880" rIns="182880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4800" b="0" i="0" spc="-150" baseline="0">
                <a:solidFill>
                  <a:schemeClr val="accent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arge headline with media placeholder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10736082" y="-1485523"/>
            <a:ext cx="3200400" cy="3200400"/>
          </a:xfrm>
          <a:prstGeom prst="ellipse">
            <a:avLst/>
          </a:prstGeom>
          <a:noFill/>
          <a:ln w="1238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3544" y="457200"/>
            <a:ext cx="9756648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914400" y="1193801"/>
            <a:ext cx="10439400" cy="464007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Click an icon below to add media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10736082" y="-1485523"/>
            <a:ext cx="3200400" cy="3200400"/>
          </a:xfrm>
          <a:prstGeom prst="ellipse">
            <a:avLst/>
          </a:prstGeom>
          <a:noFill/>
          <a:ln w="1238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1115568"/>
            <a:ext cx="9821682" cy="4701032"/>
          </a:xfrm>
          <a:prstGeom prst="rect">
            <a:avLst/>
          </a:prstGeom>
        </p:spPr>
        <p:txBody>
          <a:bodyPr lIns="182880" rIns="182880" anchor="ctr" anchorCtr="0">
            <a:normAutofit/>
          </a:bodyPr>
          <a:lstStyle>
            <a:lvl1pPr marL="342900" indent="-342900">
              <a:lnSpc>
                <a:spcPct val="200000"/>
              </a:lnSpc>
              <a:buFont typeface="Arial" charset="0"/>
              <a:buChar char="•"/>
              <a:defRPr sz="2400" b="0" i="0" baseline="0"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en-US" b="0" i="0" dirty="0">
                <a:latin typeface="Open Sans" charset="0"/>
                <a:ea typeface="Open Sans" charset="0"/>
                <a:cs typeface="Open Sans" charset="0"/>
              </a:rPr>
              <a:t>Summary Slide</a:t>
            </a:r>
          </a:p>
          <a:p>
            <a:r>
              <a:rPr lang="en-US" b="0" i="0" dirty="0">
                <a:latin typeface="Open Sans" charset="0"/>
                <a:ea typeface="Open Sans" charset="0"/>
                <a:cs typeface="Open Sans" charset="0"/>
              </a:rPr>
              <a:t>Used to contain bulleted statements</a:t>
            </a:r>
          </a:p>
          <a:p>
            <a:r>
              <a:rPr lang="en-US" b="0" i="0" dirty="0">
                <a:latin typeface="Open Sans" charset="0"/>
                <a:ea typeface="Open Sans" charset="0"/>
                <a:cs typeface="Open Sans" charset="0"/>
              </a:rPr>
              <a:t>Outline the main points</a:t>
            </a:r>
          </a:p>
          <a:p>
            <a:r>
              <a:rPr lang="en-US" b="0" i="0" dirty="0">
                <a:latin typeface="Open Sans" charset="0"/>
                <a:ea typeface="Open Sans" charset="0"/>
                <a:cs typeface="Open Sans" charset="0"/>
              </a:rPr>
              <a:t>And takeaway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3544" y="457200"/>
            <a:ext cx="9756648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614476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5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399" y="1069769"/>
            <a:ext cx="5704573" cy="268943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4000" spc="-150">
                <a:solidFill>
                  <a:schemeClr val="bg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</a:lstStyle>
          <a:p>
            <a:r>
              <a:rPr lang="en-US"/>
              <a:t>Thank you message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39000" y="1069975"/>
            <a:ext cx="4038600" cy="4630738"/>
          </a:xfrm>
          <a:prstGeom prst="rect">
            <a:avLst/>
          </a:prstGeom>
        </p:spPr>
        <p:txBody>
          <a:bodyPr/>
          <a:lstStyle>
            <a:lvl1pPr marL="0" indent="0">
              <a:buFont typeface="Arial" charset="0"/>
              <a:buNone/>
              <a:defRPr sz="2800" b="0" i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400" b="0" i="0" spc="0" dirty="0">
                <a:latin typeface="Open Sans" charset="0"/>
                <a:ea typeface="Open Sans" charset="0"/>
                <a:cs typeface="Open Sans" charset="0"/>
              </a:rPr>
              <a:t>Contact:</a:t>
            </a:r>
          </a:p>
          <a:p>
            <a:pPr>
              <a:lnSpc>
                <a:spcPct val="120000"/>
              </a:lnSpc>
            </a:pPr>
            <a:r>
              <a:rPr lang="en-US" sz="2400" b="0" i="0" spc="0" dirty="0" err="1">
                <a:latin typeface="Open Sans" charset="0"/>
                <a:ea typeface="Open Sans" charset="0"/>
                <a:cs typeface="Open Sans" charset="0"/>
              </a:rPr>
              <a:t>abc@wiley.com</a:t>
            </a:r>
            <a:endParaRPr lang="en-US" sz="2400" b="0" i="0" spc="0" dirty="0">
              <a:latin typeface="Open Sans" charset="0"/>
              <a:ea typeface="Open Sans" charset="0"/>
              <a:cs typeface="Open Sans" charset="0"/>
            </a:endParaRPr>
          </a:p>
          <a:p>
            <a:pPr>
              <a:lnSpc>
                <a:spcPct val="120000"/>
              </a:lnSpc>
            </a:pPr>
            <a:r>
              <a:rPr lang="en-US" sz="2400" b="0" i="0" spc="0" dirty="0">
                <a:latin typeface="Open Sans" charset="0"/>
                <a:ea typeface="Open Sans" charset="0"/>
                <a:cs typeface="Open Sans" charset="0"/>
              </a:rPr>
              <a:t>123-456-7890</a:t>
            </a:r>
            <a:endParaRPr lang="en-US" sz="2400" b="0" i="0" spc="0" dirty="0">
              <a:latin typeface="Open Sans Light" charset="0"/>
              <a:ea typeface="Open Sans Light" charset="0"/>
              <a:cs typeface="Open Sans Light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296776" y="4544568"/>
            <a:ext cx="4907659" cy="3200855"/>
            <a:chOff x="-296776" y="4560157"/>
            <a:chExt cx="4907659" cy="3200855"/>
          </a:xfrm>
        </p:grpSpPr>
        <p:grpSp>
          <p:nvGrpSpPr>
            <p:cNvPr id="14" name="Group 13"/>
            <p:cNvGrpSpPr/>
            <p:nvPr userDrawn="1"/>
          </p:nvGrpSpPr>
          <p:grpSpPr>
            <a:xfrm>
              <a:off x="-296776" y="4560157"/>
              <a:ext cx="3211788" cy="3200855"/>
              <a:chOff x="-296776" y="4534525"/>
              <a:chExt cx="3211788" cy="3200855"/>
            </a:xfrm>
          </p:grpSpPr>
          <p:sp>
            <p:nvSpPr>
              <p:cNvPr id="18" name="Arc 17"/>
              <p:cNvSpPr/>
              <p:nvPr userDrawn="1"/>
            </p:nvSpPr>
            <p:spPr>
              <a:xfrm>
                <a:off x="-296776" y="4534525"/>
                <a:ext cx="3200400" cy="3200400"/>
              </a:xfrm>
              <a:prstGeom prst="arc">
                <a:avLst/>
              </a:prstGeom>
              <a:noFill/>
              <a:ln w="1524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3"/>
                  </a:solidFill>
                </a:endParaRPr>
              </a:p>
            </p:txBody>
          </p:sp>
          <p:sp>
            <p:nvSpPr>
              <p:cNvPr id="20" name="Arc 19"/>
              <p:cNvSpPr/>
              <p:nvPr userDrawn="1"/>
            </p:nvSpPr>
            <p:spPr>
              <a:xfrm flipH="1">
                <a:off x="-285388" y="4534980"/>
                <a:ext cx="3200400" cy="3200400"/>
              </a:xfrm>
              <a:prstGeom prst="arc">
                <a:avLst/>
              </a:prstGeom>
              <a:noFill/>
              <a:ln w="1524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3"/>
                  </a:solidFill>
                </a:endParaRPr>
              </a:p>
            </p:txBody>
          </p:sp>
        </p:grpSp>
        <p:sp>
          <p:nvSpPr>
            <p:cNvPr id="15" name="Freeform 14"/>
            <p:cNvSpPr>
              <a:spLocks noChangeArrowheads="1"/>
            </p:cNvSpPr>
            <p:nvPr userDrawn="1"/>
          </p:nvSpPr>
          <p:spPr bwMode="auto">
            <a:xfrm rot="10293731">
              <a:off x="2237733" y="4574296"/>
              <a:ext cx="2373150" cy="1427785"/>
            </a:xfrm>
            <a:custGeom>
              <a:avLst/>
              <a:gdLst>
                <a:gd name="connsiteX0" fmla="*/ 51534 w 2373150"/>
                <a:gd name="connsiteY0" fmla="*/ 1427785 h 1427785"/>
                <a:gd name="connsiteX1" fmla="*/ 7251 w 2373150"/>
                <a:gd name="connsiteY1" fmla="*/ 1384028 h 1427785"/>
                <a:gd name="connsiteX2" fmla="*/ 0 w 2373150"/>
                <a:gd name="connsiteY2" fmla="*/ 1376261 h 1427785"/>
                <a:gd name="connsiteX3" fmla="*/ 7251 w 2373150"/>
                <a:gd name="connsiteY3" fmla="*/ 1369010 h 1427785"/>
                <a:gd name="connsiteX4" fmla="*/ 51534 w 2373150"/>
                <a:gd name="connsiteY4" fmla="*/ 1325253 h 1427785"/>
                <a:gd name="connsiteX5" fmla="*/ 66036 w 2373150"/>
                <a:gd name="connsiteY5" fmla="*/ 1325253 h 1427785"/>
                <a:gd name="connsiteX6" fmla="*/ 66036 w 2373150"/>
                <a:gd name="connsiteY6" fmla="*/ 1339752 h 1427785"/>
                <a:gd name="connsiteX7" fmla="*/ 36514 w 2373150"/>
                <a:gd name="connsiteY7" fmla="*/ 1361760 h 1427785"/>
                <a:gd name="connsiteX8" fmla="*/ 1915302 w 2373150"/>
                <a:gd name="connsiteY8" fmla="*/ 576712 h 1427785"/>
                <a:gd name="connsiteX9" fmla="*/ 2251458 w 2373150"/>
                <a:gd name="connsiteY9" fmla="*/ 167325 h 1427785"/>
                <a:gd name="connsiteX10" fmla="*/ 2351484 w 2373150"/>
                <a:gd name="connsiteY10" fmla="*/ 0 h 1427785"/>
                <a:gd name="connsiteX11" fmla="*/ 2373150 w 2373150"/>
                <a:gd name="connsiteY11" fmla="*/ 3214 h 1427785"/>
                <a:gd name="connsiteX12" fmla="*/ 2269351 w 2373150"/>
                <a:gd name="connsiteY12" fmla="*/ 177630 h 1427785"/>
                <a:gd name="connsiteX13" fmla="*/ 1930063 w 2373150"/>
                <a:gd name="connsiteY13" fmla="*/ 591471 h 1427785"/>
                <a:gd name="connsiteX14" fmla="*/ 36514 w 2373150"/>
                <a:gd name="connsiteY14" fmla="*/ 1384028 h 1427785"/>
                <a:gd name="connsiteX15" fmla="*/ 66035 w 2373150"/>
                <a:gd name="connsiteY15" fmla="*/ 1413027 h 1427785"/>
                <a:gd name="connsiteX16" fmla="*/ 66036 w 2373150"/>
                <a:gd name="connsiteY16" fmla="*/ 1427785 h 1427785"/>
                <a:gd name="connsiteX17" fmla="*/ 58785 w 2373150"/>
                <a:gd name="connsiteY17" fmla="*/ 1427785 h 1427785"/>
                <a:gd name="connsiteX18" fmla="*/ 51534 w 2373150"/>
                <a:gd name="connsiteY18" fmla="*/ 1427785 h 1427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73150" h="1427785">
                  <a:moveTo>
                    <a:pt x="51534" y="1427785"/>
                  </a:moveTo>
                  <a:cubicBezTo>
                    <a:pt x="51534" y="1427785"/>
                    <a:pt x="51534" y="1427785"/>
                    <a:pt x="7251" y="1384028"/>
                  </a:cubicBezTo>
                  <a:cubicBezTo>
                    <a:pt x="0" y="1384028"/>
                    <a:pt x="0" y="1376261"/>
                    <a:pt x="0" y="1376261"/>
                  </a:cubicBezTo>
                  <a:cubicBezTo>
                    <a:pt x="0" y="1376261"/>
                    <a:pt x="0" y="1369010"/>
                    <a:pt x="7251" y="1369010"/>
                  </a:cubicBezTo>
                  <a:cubicBezTo>
                    <a:pt x="7251" y="1369010"/>
                    <a:pt x="7251" y="1369010"/>
                    <a:pt x="51534" y="1325253"/>
                  </a:cubicBezTo>
                  <a:cubicBezTo>
                    <a:pt x="51534" y="1317744"/>
                    <a:pt x="58785" y="1317744"/>
                    <a:pt x="66036" y="1325253"/>
                  </a:cubicBezTo>
                  <a:cubicBezTo>
                    <a:pt x="66036" y="1325253"/>
                    <a:pt x="66036" y="1332502"/>
                    <a:pt x="66036" y="1339752"/>
                  </a:cubicBezTo>
                  <a:cubicBezTo>
                    <a:pt x="66036" y="1339752"/>
                    <a:pt x="66036" y="1339752"/>
                    <a:pt x="36514" y="1361760"/>
                  </a:cubicBezTo>
                  <a:cubicBezTo>
                    <a:pt x="748408" y="1361760"/>
                    <a:pt x="1416277" y="1082903"/>
                    <a:pt x="1915302" y="576712"/>
                  </a:cubicBezTo>
                  <a:cubicBezTo>
                    <a:pt x="2041871" y="450165"/>
                    <a:pt x="2154229" y="313050"/>
                    <a:pt x="2251458" y="167325"/>
                  </a:cubicBezTo>
                  <a:lnTo>
                    <a:pt x="2351484" y="0"/>
                  </a:lnTo>
                  <a:lnTo>
                    <a:pt x="2373150" y="3214"/>
                  </a:lnTo>
                  <a:lnTo>
                    <a:pt x="2269351" y="177630"/>
                  </a:lnTo>
                  <a:cubicBezTo>
                    <a:pt x="2171693" y="324523"/>
                    <a:pt x="2058445" y="463046"/>
                    <a:pt x="1930063" y="591471"/>
                  </a:cubicBezTo>
                  <a:cubicBezTo>
                    <a:pt x="1431038" y="1097661"/>
                    <a:pt x="755917" y="1384028"/>
                    <a:pt x="36514" y="1384028"/>
                  </a:cubicBezTo>
                  <a:cubicBezTo>
                    <a:pt x="36514" y="1384028"/>
                    <a:pt x="36514" y="1384028"/>
                    <a:pt x="66035" y="1413027"/>
                  </a:cubicBezTo>
                  <a:cubicBezTo>
                    <a:pt x="66036" y="1420536"/>
                    <a:pt x="66036" y="1420536"/>
                    <a:pt x="66036" y="1427785"/>
                  </a:cubicBezTo>
                  <a:lnTo>
                    <a:pt x="58785" y="1427785"/>
                  </a:lnTo>
                  <a:cubicBezTo>
                    <a:pt x="51534" y="1427785"/>
                    <a:pt x="51534" y="1427785"/>
                    <a:pt x="51534" y="142778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dirty="0">
                <a:solidFill>
                  <a:schemeClr val="accent3"/>
                </a:solidFill>
              </a:endParaRPr>
            </a:p>
          </p:txBody>
        </p:sp>
      </p:grp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34001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k Titl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7"/>
          <p:cNvSpPr>
            <a:spLocks noChangeArrowheads="1"/>
          </p:cNvSpPr>
          <p:nvPr userDrawn="1"/>
        </p:nvSpPr>
        <p:spPr bwMode="auto">
          <a:xfrm rot="10293731">
            <a:off x="2191626" y="5143151"/>
            <a:ext cx="2715244" cy="5437340"/>
          </a:xfrm>
          <a:custGeom>
            <a:avLst/>
            <a:gdLst>
              <a:gd name="T0" fmla="*/ 10484 w 10485"/>
              <a:gd name="T1" fmla="*/ 10372 h 21000"/>
              <a:gd name="T2" fmla="*/ 10484 w 10485"/>
              <a:gd name="T3" fmla="*/ 10372 h 21000"/>
              <a:gd name="T4" fmla="*/ 7396 w 10485"/>
              <a:gd name="T5" fmla="*/ 3033 h 21000"/>
              <a:gd name="T6" fmla="*/ 85 w 10485"/>
              <a:gd name="T7" fmla="*/ 0 h 21000"/>
              <a:gd name="T8" fmla="*/ 28 w 10485"/>
              <a:gd name="T9" fmla="*/ 0 h 21000"/>
              <a:gd name="T10" fmla="*/ 0 w 10485"/>
              <a:gd name="T11" fmla="*/ 56 h 21000"/>
              <a:gd name="T12" fmla="*/ 28 w 10485"/>
              <a:gd name="T13" fmla="*/ 85 h 21000"/>
              <a:gd name="T14" fmla="*/ 28 w 10485"/>
              <a:gd name="T15" fmla="*/ 85 h 21000"/>
              <a:gd name="T16" fmla="*/ 85 w 10485"/>
              <a:gd name="T17" fmla="*/ 85 h 21000"/>
              <a:gd name="T18" fmla="*/ 7339 w 10485"/>
              <a:gd name="T19" fmla="*/ 3089 h 21000"/>
              <a:gd name="T20" fmla="*/ 10400 w 10485"/>
              <a:gd name="T21" fmla="*/ 10372 h 21000"/>
              <a:gd name="T22" fmla="*/ 7396 w 10485"/>
              <a:gd name="T23" fmla="*/ 17712 h 21000"/>
              <a:gd name="T24" fmla="*/ 141 w 10485"/>
              <a:gd name="T25" fmla="*/ 20744 h 21000"/>
              <a:gd name="T26" fmla="*/ 255 w 10485"/>
              <a:gd name="T27" fmla="*/ 20659 h 21000"/>
              <a:gd name="T28" fmla="*/ 255 w 10485"/>
              <a:gd name="T29" fmla="*/ 20603 h 21000"/>
              <a:gd name="T30" fmla="*/ 199 w 10485"/>
              <a:gd name="T31" fmla="*/ 20603 h 21000"/>
              <a:gd name="T32" fmla="*/ 28 w 10485"/>
              <a:gd name="T33" fmla="*/ 20772 h 21000"/>
              <a:gd name="T34" fmla="*/ 0 w 10485"/>
              <a:gd name="T35" fmla="*/ 20800 h 21000"/>
              <a:gd name="T36" fmla="*/ 28 w 10485"/>
              <a:gd name="T37" fmla="*/ 20830 h 21000"/>
              <a:gd name="T38" fmla="*/ 199 w 10485"/>
              <a:gd name="T39" fmla="*/ 20999 h 21000"/>
              <a:gd name="T40" fmla="*/ 227 w 10485"/>
              <a:gd name="T41" fmla="*/ 20999 h 21000"/>
              <a:gd name="T42" fmla="*/ 255 w 10485"/>
              <a:gd name="T43" fmla="*/ 20999 h 21000"/>
              <a:gd name="T44" fmla="*/ 255 w 10485"/>
              <a:gd name="T45" fmla="*/ 20942 h 21000"/>
              <a:gd name="T46" fmla="*/ 141 w 10485"/>
              <a:gd name="T47" fmla="*/ 20830 h 21000"/>
              <a:gd name="T48" fmla="*/ 7453 w 10485"/>
              <a:gd name="T49" fmla="*/ 17769 h 21000"/>
              <a:gd name="T50" fmla="*/ 10484 w 10485"/>
              <a:gd name="T51" fmla="*/ 10372 h 2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0485" h="21000">
                <a:moveTo>
                  <a:pt x="10484" y="10372"/>
                </a:moveTo>
                <a:lnTo>
                  <a:pt x="10484" y="10372"/>
                </a:lnTo>
                <a:cubicBezTo>
                  <a:pt x="10484" y="7595"/>
                  <a:pt x="9380" y="4988"/>
                  <a:pt x="7396" y="3033"/>
                </a:cubicBezTo>
                <a:cubicBezTo>
                  <a:pt x="5441" y="1076"/>
                  <a:pt x="2834" y="0"/>
                  <a:pt x="85" y="0"/>
                </a:cubicBezTo>
                <a:cubicBezTo>
                  <a:pt x="56" y="0"/>
                  <a:pt x="56" y="0"/>
                  <a:pt x="28" y="0"/>
                </a:cubicBezTo>
                <a:cubicBezTo>
                  <a:pt x="0" y="28"/>
                  <a:pt x="0" y="28"/>
                  <a:pt x="0" y="56"/>
                </a:cubicBezTo>
                <a:cubicBezTo>
                  <a:pt x="0" y="85"/>
                  <a:pt x="0" y="85"/>
                  <a:pt x="28" y="85"/>
                </a:cubicBezTo>
                <a:lnTo>
                  <a:pt x="28" y="85"/>
                </a:lnTo>
                <a:cubicBezTo>
                  <a:pt x="56" y="85"/>
                  <a:pt x="56" y="85"/>
                  <a:pt x="85" y="85"/>
                </a:cubicBezTo>
                <a:cubicBezTo>
                  <a:pt x="2806" y="85"/>
                  <a:pt x="5413" y="1162"/>
                  <a:pt x="7339" y="3089"/>
                </a:cubicBezTo>
                <a:cubicBezTo>
                  <a:pt x="9294" y="5044"/>
                  <a:pt x="10400" y="7623"/>
                  <a:pt x="10400" y="10372"/>
                </a:cubicBezTo>
                <a:cubicBezTo>
                  <a:pt x="10428" y="13149"/>
                  <a:pt x="9351" y="15757"/>
                  <a:pt x="7396" y="17712"/>
                </a:cubicBezTo>
                <a:cubicBezTo>
                  <a:pt x="5469" y="19667"/>
                  <a:pt x="2890" y="20744"/>
                  <a:pt x="141" y="20744"/>
                </a:cubicBezTo>
                <a:cubicBezTo>
                  <a:pt x="255" y="20659"/>
                  <a:pt x="255" y="20659"/>
                  <a:pt x="255" y="20659"/>
                </a:cubicBezTo>
                <a:cubicBezTo>
                  <a:pt x="255" y="20631"/>
                  <a:pt x="255" y="20603"/>
                  <a:pt x="255" y="20603"/>
                </a:cubicBezTo>
                <a:cubicBezTo>
                  <a:pt x="227" y="20574"/>
                  <a:pt x="199" y="20574"/>
                  <a:pt x="199" y="20603"/>
                </a:cubicBezTo>
                <a:cubicBezTo>
                  <a:pt x="28" y="20772"/>
                  <a:pt x="28" y="20772"/>
                  <a:pt x="28" y="20772"/>
                </a:cubicBezTo>
                <a:cubicBezTo>
                  <a:pt x="0" y="20772"/>
                  <a:pt x="0" y="20800"/>
                  <a:pt x="0" y="20800"/>
                </a:cubicBezTo>
                <a:cubicBezTo>
                  <a:pt x="0" y="20800"/>
                  <a:pt x="0" y="20830"/>
                  <a:pt x="28" y="20830"/>
                </a:cubicBezTo>
                <a:cubicBezTo>
                  <a:pt x="199" y="20999"/>
                  <a:pt x="199" y="20999"/>
                  <a:pt x="199" y="20999"/>
                </a:cubicBezTo>
                <a:cubicBezTo>
                  <a:pt x="199" y="20999"/>
                  <a:pt x="199" y="20999"/>
                  <a:pt x="227" y="20999"/>
                </a:cubicBezTo>
                <a:lnTo>
                  <a:pt x="255" y="20999"/>
                </a:lnTo>
                <a:cubicBezTo>
                  <a:pt x="255" y="20971"/>
                  <a:pt x="255" y="20971"/>
                  <a:pt x="255" y="20942"/>
                </a:cubicBezTo>
                <a:cubicBezTo>
                  <a:pt x="141" y="20830"/>
                  <a:pt x="141" y="20830"/>
                  <a:pt x="141" y="20830"/>
                </a:cubicBezTo>
                <a:cubicBezTo>
                  <a:pt x="2919" y="20830"/>
                  <a:pt x="5526" y="19724"/>
                  <a:pt x="7453" y="17769"/>
                </a:cubicBezTo>
                <a:cubicBezTo>
                  <a:pt x="9436" y="15785"/>
                  <a:pt x="10484" y="13177"/>
                  <a:pt x="10484" y="10372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9" name="Oval 18"/>
          <p:cNvSpPr/>
          <p:nvPr userDrawn="1"/>
        </p:nvSpPr>
        <p:spPr>
          <a:xfrm>
            <a:off x="-296776" y="5161041"/>
            <a:ext cx="3200400" cy="3200400"/>
          </a:xfrm>
          <a:prstGeom prst="ellipse">
            <a:avLst/>
          </a:prstGeom>
          <a:noFill/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19233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6000" spc="-150">
                <a:solidFill>
                  <a:schemeClr val="tx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</a:lstStyle>
          <a:p>
            <a:r>
              <a:rPr lang="en-US" dirty="0"/>
              <a:t>Deck Title Option 2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22638"/>
            <a:ext cx="9144000" cy="47466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800" b="1" i="0" baseline="0">
                <a:solidFill>
                  <a:schemeClr val="accent1"/>
                </a:solidFill>
                <a:latin typeface="Open Sans Semibold" charset="0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ext style line 1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040" y="6375400"/>
            <a:ext cx="1096292" cy="229977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3797300"/>
            <a:ext cx="9144000" cy="660400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000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 sz="2000" dirty="0"/>
              <a:t>Subtext style line 2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703638"/>
            <a:ext cx="9144000" cy="1655762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 i="0" baseline="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subhead or first point</a:t>
            </a:r>
          </a:p>
          <a:p>
            <a:r>
              <a:rPr lang="en-US" dirty="0"/>
              <a:t>Second point</a:t>
            </a:r>
          </a:p>
          <a:p>
            <a:r>
              <a:rPr lang="en-US" dirty="0"/>
              <a:t>Third poi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457200" y="6126480"/>
            <a:ext cx="1124712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1524000" y="3416300"/>
            <a:ext cx="2197100" cy="0"/>
          </a:xfrm>
          <a:prstGeom prst="line">
            <a:avLst/>
          </a:prstGeom>
          <a:ln w="508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19233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6000" spc="-150">
                <a:solidFill>
                  <a:schemeClr val="tx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</a:lstStyle>
          <a:p>
            <a:r>
              <a:rPr lang="en-US" dirty="0"/>
              <a:t>Section Title Option 1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14476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5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703638"/>
            <a:ext cx="9144000" cy="1655762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400" b="0" i="0" baseline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subhead or first point</a:t>
            </a:r>
          </a:p>
          <a:p>
            <a:r>
              <a:rPr lang="en-US" dirty="0"/>
              <a:t>Second point</a:t>
            </a:r>
          </a:p>
          <a:p>
            <a:r>
              <a:rPr lang="en-US" dirty="0"/>
              <a:t>Third point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1524000" y="3416300"/>
            <a:ext cx="219710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19233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6000" spc="-150">
                <a:solidFill>
                  <a:schemeClr val="bg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</a:lstStyle>
          <a:p>
            <a:r>
              <a:rPr lang="en-US" dirty="0"/>
              <a:t>Section Title Option 2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5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Oval 5"/>
          <p:cNvSpPr/>
          <p:nvPr userDrawn="1"/>
        </p:nvSpPr>
        <p:spPr>
          <a:xfrm>
            <a:off x="10736082" y="-1485523"/>
            <a:ext cx="3200400" cy="3200400"/>
          </a:xfrm>
          <a:prstGeom prst="ellipse">
            <a:avLst/>
          </a:prstGeom>
          <a:noFill/>
          <a:ln w="1238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1828800"/>
            <a:ext cx="10332720" cy="3746123"/>
          </a:xfrm>
          <a:prstGeom prst="rect">
            <a:avLst/>
          </a:prstGeom>
        </p:spPr>
        <p:txBody>
          <a:bodyPr lIns="182880" rIns="182880">
            <a:normAutofit/>
          </a:bodyPr>
          <a:lstStyle>
            <a:lvl1pPr marL="0" indent="0" algn="l">
              <a:lnSpc>
                <a:spcPct val="100000"/>
              </a:lnSpc>
              <a:buNone/>
              <a:defRPr sz="4800" b="0" i="0" spc="-150" baseline="0">
                <a:solidFill>
                  <a:schemeClr val="tx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Bold statement layout option 1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cras</a:t>
            </a:r>
            <a:r>
              <a:rPr lang="en-US" dirty="0"/>
              <a:t> </a:t>
            </a:r>
            <a:r>
              <a:rPr lang="en-US" dirty="0" err="1"/>
              <a:t>amet</a:t>
            </a:r>
            <a:r>
              <a:rPr lang="en-US" dirty="0"/>
              <a:t>.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3544" y="457200"/>
            <a:ext cx="9756648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Oval 5"/>
          <p:cNvSpPr/>
          <p:nvPr userDrawn="1"/>
        </p:nvSpPr>
        <p:spPr>
          <a:xfrm>
            <a:off x="10736082" y="-1485523"/>
            <a:ext cx="3200400" cy="3200400"/>
          </a:xfrm>
          <a:prstGeom prst="ellipse">
            <a:avLst/>
          </a:prstGeom>
          <a:noFill/>
          <a:ln w="1238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1115568"/>
            <a:ext cx="9821682" cy="1513332"/>
          </a:xfrm>
          <a:prstGeom prst="rect">
            <a:avLst/>
          </a:prstGeom>
        </p:spPr>
        <p:txBody>
          <a:bodyPr wrap="square" lIns="182880" rIns="182880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4800" b="0" i="0" spc="-150" baseline="0">
                <a:solidFill>
                  <a:schemeClr val="accent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arge headline with additional text and here’s a second 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882900"/>
            <a:ext cx="10350500" cy="2933700"/>
          </a:xfrm>
          <a:prstGeom prst="rect">
            <a:avLst/>
          </a:prstGeom>
        </p:spPr>
        <p:txBody>
          <a:bodyPr lIns="182880" rIns="182880">
            <a:normAutofit/>
          </a:bodyPr>
          <a:lstStyle>
            <a:lvl1pPr marL="0" indent="0">
              <a:lnSpc>
                <a:spcPct val="100000"/>
              </a:lnSpc>
              <a:buNone/>
              <a:defRPr sz="2400" b="0" i="0"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r>
              <a:rPr lang="en-US" b="0" i="0" dirty="0">
                <a:latin typeface="Open Sans" charset="0"/>
                <a:ea typeface="Open Sans" charset="0"/>
                <a:cs typeface="Open Sans" charset="0"/>
              </a:rPr>
              <a:t>First point</a:t>
            </a:r>
          </a:p>
          <a:p>
            <a:r>
              <a:rPr lang="en-US" b="0" i="0" dirty="0">
                <a:latin typeface="Open Sans" charset="0"/>
                <a:ea typeface="Open Sans" charset="0"/>
                <a:cs typeface="Open Sans" charset="0"/>
              </a:rPr>
              <a:t>Second point</a:t>
            </a:r>
          </a:p>
          <a:p>
            <a:r>
              <a:rPr lang="en-US" b="0" i="0" dirty="0">
                <a:latin typeface="Open Sans" charset="0"/>
                <a:ea typeface="Open Sans" charset="0"/>
                <a:cs typeface="Open Sans" charset="0"/>
              </a:rPr>
              <a:t>Third poin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3544" y="457200"/>
            <a:ext cx="9756648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3544" y="457200"/>
            <a:ext cx="9756648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882900"/>
            <a:ext cx="3017520" cy="2697480"/>
          </a:xfrm>
          <a:prstGeom prst="rect">
            <a:avLst/>
          </a:prstGeom>
        </p:spPr>
        <p:txBody>
          <a:bodyPr lIns="182880" rIns="182880">
            <a:noAutofit/>
          </a:bodyPr>
          <a:lstStyle>
            <a:lvl1pPr marL="0" indent="0">
              <a:lnSpc>
                <a:spcPct val="140000"/>
              </a:lnSpc>
              <a:buNone/>
              <a:defRPr sz="1600"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quam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pharetra. Class </a:t>
            </a:r>
            <a:r>
              <a:rPr lang="en-US" dirty="0" err="1"/>
              <a:t>aptent</a:t>
            </a:r>
            <a:r>
              <a:rPr lang="en-US" dirty="0"/>
              <a:t> </a:t>
            </a:r>
            <a:r>
              <a:rPr lang="en-US" dirty="0" err="1"/>
              <a:t>taciti</a:t>
            </a:r>
            <a:r>
              <a:rPr lang="en-US" dirty="0"/>
              <a:t> </a:t>
            </a:r>
            <a:r>
              <a:rPr lang="en-US" dirty="0" err="1"/>
              <a:t>sociosqu</a:t>
            </a:r>
            <a:r>
              <a:rPr lang="en-US" dirty="0"/>
              <a:t> ad </a:t>
            </a:r>
            <a:r>
              <a:rPr lang="en-US" dirty="0" err="1"/>
              <a:t>litora</a:t>
            </a:r>
            <a:r>
              <a:rPr lang="en-US" dirty="0"/>
              <a:t> </a:t>
            </a:r>
            <a:r>
              <a:rPr lang="en-US" dirty="0" err="1"/>
              <a:t>torquent</a:t>
            </a:r>
            <a:r>
              <a:rPr lang="en-US" dirty="0"/>
              <a:t> per </a:t>
            </a:r>
            <a:r>
              <a:rPr lang="en-US" dirty="0" err="1"/>
              <a:t>conubia</a:t>
            </a:r>
            <a:r>
              <a:rPr lang="en-US" dirty="0"/>
              <a:t> nostra, per </a:t>
            </a:r>
            <a:r>
              <a:rPr lang="en-US" dirty="0" err="1"/>
              <a:t>inceptos</a:t>
            </a:r>
            <a:r>
              <a:rPr lang="en-US" dirty="0"/>
              <a:t> </a:t>
            </a:r>
            <a:r>
              <a:rPr lang="en-US" dirty="0" err="1"/>
              <a:t>himenaeos</a:t>
            </a:r>
            <a:r>
              <a:rPr lang="en-US" dirty="0"/>
              <a:t>. 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587239" y="2882900"/>
            <a:ext cx="3017520" cy="2697480"/>
          </a:xfrm>
          <a:prstGeom prst="rect">
            <a:avLst/>
          </a:prstGeom>
        </p:spPr>
        <p:txBody>
          <a:bodyPr lIns="182880" rIns="182880">
            <a:noAutofit/>
          </a:bodyPr>
          <a:lstStyle>
            <a:lvl1pPr marL="0" indent="0">
              <a:lnSpc>
                <a:spcPct val="140000"/>
              </a:lnSpc>
              <a:buNone/>
              <a:defRPr sz="1600"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quam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pharetra. Class </a:t>
            </a:r>
            <a:r>
              <a:rPr lang="en-US" dirty="0" err="1"/>
              <a:t>aptent</a:t>
            </a:r>
            <a:r>
              <a:rPr lang="en-US" dirty="0"/>
              <a:t> </a:t>
            </a:r>
            <a:r>
              <a:rPr lang="en-US" dirty="0" err="1"/>
              <a:t>taciti</a:t>
            </a:r>
            <a:r>
              <a:rPr lang="en-US" dirty="0"/>
              <a:t> </a:t>
            </a:r>
            <a:r>
              <a:rPr lang="en-US" dirty="0" err="1"/>
              <a:t>sociosqu</a:t>
            </a:r>
            <a:r>
              <a:rPr lang="en-US" dirty="0"/>
              <a:t> ad </a:t>
            </a:r>
            <a:r>
              <a:rPr lang="en-US" dirty="0" err="1"/>
              <a:t>litora</a:t>
            </a:r>
            <a:r>
              <a:rPr lang="en-US" dirty="0"/>
              <a:t> </a:t>
            </a:r>
            <a:r>
              <a:rPr lang="en-US" dirty="0" err="1"/>
              <a:t>torquent</a:t>
            </a:r>
            <a:r>
              <a:rPr lang="en-US" dirty="0"/>
              <a:t> per </a:t>
            </a:r>
            <a:r>
              <a:rPr lang="en-US" dirty="0" err="1"/>
              <a:t>conubia</a:t>
            </a:r>
            <a:r>
              <a:rPr lang="en-US" dirty="0"/>
              <a:t> nostra, per </a:t>
            </a:r>
            <a:r>
              <a:rPr lang="en-US" dirty="0" err="1"/>
              <a:t>inceptos</a:t>
            </a:r>
            <a:r>
              <a:rPr lang="en-US" dirty="0"/>
              <a:t> </a:t>
            </a:r>
            <a:r>
              <a:rPr lang="en-US" dirty="0" err="1"/>
              <a:t>himenaeos</a:t>
            </a:r>
            <a:r>
              <a:rPr lang="en-US" dirty="0"/>
              <a:t>. 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260079" y="2882900"/>
            <a:ext cx="3017520" cy="2697480"/>
          </a:xfrm>
          <a:prstGeom prst="rect">
            <a:avLst/>
          </a:prstGeom>
        </p:spPr>
        <p:txBody>
          <a:bodyPr lIns="182880" rIns="182880">
            <a:noAutofit/>
          </a:bodyPr>
          <a:lstStyle>
            <a:lvl1pPr marL="0" indent="0">
              <a:lnSpc>
                <a:spcPct val="140000"/>
              </a:lnSpc>
              <a:buNone/>
              <a:defRPr sz="1600"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quam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pharetra. Class </a:t>
            </a:r>
            <a:r>
              <a:rPr lang="en-US" dirty="0" err="1"/>
              <a:t>aptent</a:t>
            </a:r>
            <a:r>
              <a:rPr lang="en-US" dirty="0"/>
              <a:t> </a:t>
            </a:r>
            <a:r>
              <a:rPr lang="en-US" dirty="0" err="1"/>
              <a:t>taciti</a:t>
            </a:r>
            <a:r>
              <a:rPr lang="en-US" dirty="0"/>
              <a:t> </a:t>
            </a:r>
            <a:r>
              <a:rPr lang="en-US" dirty="0" err="1"/>
              <a:t>sociosqu</a:t>
            </a:r>
            <a:r>
              <a:rPr lang="en-US" dirty="0"/>
              <a:t> ad </a:t>
            </a:r>
            <a:r>
              <a:rPr lang="en-US" dirty="0" err="1"/>
              <a:t>litora</a:t>
            </a:r>
            <a:r>
              <a:rPr lang="en-US" dirty="0"/>
              <a:t> </a:t>
            </a:r>
            <a:r>
              <a:rPr lang="en-US" dirty="0" err="1"/>
              <a:t>torquent</a:t>
            </a:r>
            <a:r>
              <a:rPr lang="en-US" dirty="0"/>
              <a:t> per </a:t>
            </a:r>
            <a:r>
              <a:rPr lang="en-US" dirty="0" err="1"/>
              <a:t>conubia</a:t>
            </a:r>
            <a:r>
              <a:rPr lang="en-US" dirty="0"/>
              <a:t> nostra, per </a:t>
            </a:r>
            <a:r>
              <a:rPr lang="en-US" dirty="0" err="1"/>
              <a:t>inceptos</a:t>
            </a:r>
            <a:r>
              <a:rPr lang="en-US" dirty="0"/>
              <a:t> </a:t>
            </a:r>
            <a:r>
              <a:rPr lang="en-US" dirty="0" err="1"/>
              <a:t>himenaeos</a:t>
            </a:r>
            <a:r>
              <a:rPr lang="en-US" dirty="0"/>
              <a:t>. 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10736082" y="-1485523"/>
            <a:ext cx="3200400" cy="3200400"/>
          </a:xfrm>
          <a:prstGeom prst="ellipse">
            <a:avLst/>
          </a:prstGeom>
          <a:noFill/>
          <a:ln w="1238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1115568"/>
            <a:ext cx="9821682" cy="1513332"/>
          </a:xfrm>
          <a:prstGeom prst="rect">
            <a:avLst/>
          </a:prstGeom>
        </p:spPr>
        <p:txBody>
          <a:bodyPr wrap="square" lIns="182880" rIns="182880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4800" b="0" i="0" spc="-150" baseline="0">
                <a:solidFill>
                  <a:schemeClr val="accent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Large headline with 3 columns of additional text</a:t>
            </a: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Media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1193801"/>
            <a:ext cx="6502400" cy="1473200"/>
          </a:xfrm>
          <a:prstGeom prst="rect">
            <a:avLst/>
          </a:prstGeom>
        </p:spPr>
        <p:txBody>
          <a:bodyPr wrap="square" lIns="182880" rIns="182880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4800" b="0" i="0" spc="-150" baseline="0">
                <a:solidFill>
                  <a:schemeClr val="accent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mall media with text slid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3544" y="457200"/>
            <a:ext cx="6671056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882900"/>
            <a:ext cx="6502400" cy="2933700"/>
          </a:xfrm>
          <a:prstGeom prst="rect">
            <a:avLst/>
          </a:prstGeom>
        </p:spPr>
        <p:txBody>
          <a:bodyPr lIns="182880" rIns="182880">
            <a:normAutofit/>
          </a:bodyPr>
          <a:lstStyle>
            <a:lvl1pPr marL="0" indent="0">
              <a:lnSpc>
                <a:spcPct val="140000"/>
              </a:lnSpc>
              <a:buNone/>
              <a:defRPr sz="1800"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quam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pharetra. Class </a:t>
            </a:r>
            <a:r>
              <a:rPr lang="en-US" dirty="0" err="1"/>
              <a:t>aptent</a:t>
            </a:r>
            <a:r>
              <a:rPr lang="en-US" dirty="0"/>
              <a:t> </a:t>
            </a:r>
            <a:r>
              <a:rPr lang="en-US" dirty="0" err="1"/>
              <a:t>taciti</a:t>
            </a:r>
            <a:r>
              <a:rPr lang="en-US" dirty="0"/>
              <a:t> </a:t>
            </a:r>
            <a:r>
              <a:rPr lang="en-US" dirty="0" err="1"/>
              <a:t>sociosqu</a:t>
            </a:r>
            <a:r>
              <a:rPr lang="en-US" dirty="0"/>
              <a:t> ad </a:t>
            </a:r>
            <a:r>
              <a:rPr lang="en-US" dirty="0" err="1"/>
              <a:t>litora</a:t>
            </a:r>
            <a:r>
              <a:rPr lang="en-US" dirty="0"/>
              <a:t> </a:t>
            </a:r>
            <a:r>
              <a:rPr lang="en-US" dirty="0" err="1"/>
              <a:t>torquent</a:t>
            </a:r>
            <a:r>
              <a:rPr lang="en-US" dirty="0"/>
              <a:t> per </a:t>
            </a:r>
            <a:r>
              <a:rPr lang="en-US" dirty="0" err="1"/>
              <a:t>conubia</a:t>
            </a:r>
            <a:r>
              <a:rPr lang="en-US" dirty="0"/>
              <a:t> nostra, per </a:t>
            </a:r>
            <a:r>
              <a:rPr lang="en-US" dirty="0" err="1"/>
              <a:t>inceptos</a:t>
            </a:r>
            <a:r>
              <a:rPr lang="en-US" dirty="0"/>
              <a:t> </a:t>
            </a:r>
            <a:r>
              <a:rPr lang="en-US" dirty="0" err="1"/>
              <a:t>himenaeos</a:t>
            </a:r>
            <a:r>
              <a:rPr lang="en-US" dirty="0"/>
              <a:t>. Integer et dictum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et libero gravida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et </a:t>
            </a:r>
            <a:r>
              <a:rPr lang="en-US" dirty="0" err="1"/>
              <a:t>erat</a:t>
            </a:r>
            <a:r>
              <a:rPr lang="en-US" dirty="0"/>
              <a:t> non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a magna. 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7790688" y="256033"/>
            <a:ext cx="4401312" cy="557784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Click an icon below to add media</a:t>
            </a: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Media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1193801"/>
            <a:ext cx="4658627" cy="1473200"/>
          </a:xfrm>
          <a:prstGeom prst="rect">
            <a:avLst/>
          </a:prstGeom>
        </p:spPr>
        <p:txBody>
          <a:bodyPr wrap="square" lIns="182880" rIns="182880" anchor="b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4800" b="0" i="0" spc="-150" baseline="0">
                <a:solidFill>
                  <a:schemeClr val="accent1"/>
                </a:solidFill>
                <a:latin typeface="Source Serif Pro" charset="0"/>
                <a:ea typeface="Source Serif Pro" charset="0"/>
                <a:cs typeface="Source Serif Pro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edium media with text slid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23544" y="457200"/>
            <a:ext cx="4994656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Section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14400" y="2882900"/>
            <a:ext cx="4658627" cy="2933700"/>
          </a:xfrm>
          <a:prstGeom prst="rect">
            <a:avLst/>
          </a:prstGeom>
        </p:spPr>
        <p:txBody>
          <a:bodyPr lIns="182880" rIns="182880">
            <a:normAutofit/>
          </a:bodyPr>
          <a:lstStyle>
            <a:lvl1pPr marL="0" indent="0">
              <a:lnSpc>
                <a:spcPct val="140000"/>
              </a:lnSpc>
              <a:buNone/>
              <a:defRPr sz="1800"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quam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r</a:t>
            </a:r>
            <a:r>
              <a:rPr lang="en-US" dirty="0"/>
              <a:t> pharetra. Class </a:t>
            </a:r>
            <a:r>
              <a:rPr lang="en-US" dirty="0" err="1"/>
              <a:t>aptent</a:t>
            </a:r>
            <a:r>
              <a:rPr lang="en-US" dirty="0"/>
              <a:t> </a:t>
            </a:r>
            <a:r>
              <a:rPr lang="en-US" dirty="0" err="1"/>
              <a:t>taciti</a:t>
            </a:r>
            <a:r>
              <a:rPr lang="en-US" dirty="0"/>
              <a:t> </a:t>
            </a:r>
            <a:r>
              <a:rPr lang="en-US" dirty="0" err="1"/>
              <a:t>sociosqu</a:t>
            </a:r>
            <a:r>
              <a:rPr lang="en-US" dirty="0"/>
              <a:t> ad </a:t>
            </a:r>
            <a:r>
              <a:rPr lang="en-US" dirty="0" err="1"/>
              <a:t>litora</a:t>
            </a:r>
            <a:r>
              <a:rPr lang="en-US" dirty="0"/>
              <a:t> </a:t>
            </a:r>
            <a:r>
              <a:rPr lang="en-US" dirty="0" err="1"/>
              <a:t>torquent</a:t>
            </a:r>
            <a:r>
              <a:rPr lang="en-US" dirty="0"/>
              <a:t> per </a:t>
            </a:r>
            <a:r>
              <a:rPr lang="en-US" dirty="0" err="1"/>
              <a:t>conubia</a:t>
            </a:r>
            <a:r>
              <a:rPr lang="en-US" dirty="0"/>
              <a:t> nostra, per </a:t>
            </a:r>
            <a:r>
              <a:rPr lang="en-US" dirty="0" err="1"/>
              <a:t>inceptos</a:t>
            </a:r>
            <a:r>
              <a:rPr lang="en-US" dirty="0"/>
              <a:t> </a:t>
            </a:r>
            <a:r>
              <a:rPr lang="en-US" dirty="0" err="1"/>
              <a:t>himenaeos</a:t>
            </a:r>
            <a:r>
              <a:rPr lang="en-US" dirty="0"/>
              <a:t>. Integer et dictum </a:t>
            </a:r>
            <a:r>
              <a:rPr lang="en-US" dirty="0" err="1"/>
              <a:t>felis</a:t>
            </a:r>
            <a:r>
              <a:rPr lang="en-US" dirty="0"/>
              <a:t>. </a:t>
            </a:r>
            <a:r>
              <a:rPr lang="en-US" dirty="0" err="1"/>
              <a:t>Nullam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et libero gravida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sagittis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156960" y="256033"/>
            <a:ext cx="6035040" cy="557784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Click an icon below to add media</a:t>
            </a:r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6126480"/>
            <a:ext cx="12192000" cy="7315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73027" y="6400800"/>
            <a:ext cx="1045946" cy="228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12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29D81C1D-71AE-404E-8BFC-9F552A8A6EE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040" y="6375400"/>
            <a:ext cx="1096292" cy="229977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457200" y="6126480"/>
            <a:ext cx="1124712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040" y="6375400"/>
            <a:ext cx="1096292" cy="229977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457200" y="6126480"/>
            <a:ext cx="1124712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844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42" r:id="rId2"/>
    <p:sldLayoutId id="2147483727" r:id="rId3"/>
    <p:sldLayoutId id="2147483714" r:id="rId4"/>
    <p:sldLayoutId id="2147483715" r:id="rId5"/>
    <p:sldLayoutId id="2147483728" r:id="rId6"/>
    <p:sldLayoutId id="2147483734" r:id="rId7"/>
    <p:sldLayoutId id="2147483729" r:id="rId8"/>
    <p:sldLayoutId id="2147483730" r:id="rId9"/>
    <p:sldLayoutId id="2147483731" r:id="rId10"/>
    <p:sldLayoutId id="2147483745" r:id="rId11"/>
    <p:sldLayoutId id="2147483747" r:id="rId12"/>
    <p:sldLayoutId id="2147483748" r:id="rId13"/>
    <p:sldLayoutId id="2147483737" r:id="rId14"/>
    <p:sldLayoutId id="2147483746" r:id="rId15"/>
    <p:sldLayoutId id="2147483749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5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26" Type="http://schemas.openxmlformats.org/officeDocument/2006/relationships/image" Target="../media/image30.jpe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34" Type="http://schemas.openxmlformats.org/officeDocument/2006/relationships/image" Target="../media/image3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hyperlink" Target="http://www.wiley.com/trackthrough?urlcode=455642" TargetMode="External"/><Relationship Id="rId33" Type="http://schemas.openxmlformats.org/officeDocument/2006/relationships/image" Target="../media/image37.png"/><Relationship Id="rId38" Type="http://schemas.openxmlformats.org/officeDocument/2006/relationships/image" Target="../media/image42.jpeg"/><Relationship Id="rId2" Type="http://schemas.openxmlformats.org/officeDocument/2006/relationships/image" Target="../media/image7.jpeg"/><Relationship Id="rId16" Type="http://schemas.openxmlformats.org/officeDocument/2006/relationships/image" Target="../media/image21.jpeg"/><Relationship Id="rId20" Type="http://schemas.openxmlformats.org/officeDocument/2006/relationships/image" Target="../media/image25.jpeg"/><Relationship Id="rId29" Type="http://schemas.openxmlformats.org/officeDocument/2006/relationships/image" Target="../media/image3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jpeg"/><Relationship Id="rId11" Type="http://schemas.openxmlformats.org/officeDocument/2006/relationships/image" Target="../media/image16.png"/><Relationship Id="rId24" Type="http://schemas.openxmlformats.org/officeDocument/2006/relationships/image" Target="../media/image29.png"/><Relationship Id="rId32" Type="http://schemas.openxmlformats.org/officeDocument/2006/relationships/image" Target="../media/image36.png"/><Relationship Id="rId37" Type="http://schemas.openxmlformats.org/officeDocument/2006/relationships/image" Target="../media/image41.png"/><Relationship Id="rId5" Type="http://schemas.openxmlformats.org/officeDocument/2006/relationships/image" Target="../media/image10.jpe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2.png"/><Relationship Id="rId36" Type="http://schemas.openxmlformats.org/officeDocument/2006/relationships/image" Target="../media/image40.jpe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31" Type="http://schemas.openxmlformats.org/officeDocument/2006/relationships/image" Target="../media/image3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1.jpeg"/><Relationship Id="rId30" Type="http://schemas.openxmlformats.org/officeDocument/2006/relationships/image" Target="../media/image34.jpeg"/><Relationship Id="rId35" Type="http://schemas.openxmlformats.org/officeDocument/2006/relationships/image" Target="../media/image3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4.png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08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12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13" Type="http://schemas.openxmlformats.org/officeDocument/2006/relationships/image" Target="../media/image58.jpeg"/><Relationship Id="rId3" Type="http://schemas.openxmlformats.org/officeDocument/2006/relationships/image" Target="../media/image48.jpeg"/><Relationship Id="rId7" Type="http://schemas.openxmlformats.org/officeDocument/2006/relationships/image" Target="../media/image52.jpeg"/><Relationship Id="rId12" Type="http://schemas.openxmlformats.org/officeDocument/2006/relationships/image" Target="../media/image57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1.jpeg"/><Relationship Id="rId11" Type="http://schemas.openxmlformats.org/officeDocument/2006/relationships/image" Target="../media/image56.jpeg"/><Relationship Id="rId5" Type="http://schemas.openxmlformats.org/officeDocument/2006/relationships/image" Target="../media/image50.jpeg"/><Relationship Id="rId10" Type="http://schemas.openxmlformats.org/officeDocument/2006/relationships/image" Target="../media/image55.jpeg"/><Relationship Id="rId4" Type="http://schemas.openxmlformats.org/officeDocument/2006/relationships/image" Target="../media/image49.jpeg"/><Relationship Id="rId9" Type="http://schemas.openxmlformats.org/officeDocument/2006/relationships/image" Target="../media/image5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7.jpe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0783" y="2074462"/>
            <a:ext cx="10076597" cy="1240238"/>
          </a:xfrm>
        </p:spPr>
        <p:txBody>
          <a:bodyPr>
            <a:normAutofit fontScale="90000"/>
          </a:bodyPr>
          <a:lstStyle/>
          <a:p>
            <a:pPr algn="ctr">
              <a:lnSpc>
                <a:spcPct val="150000"/>
              </a:lnSpc>
            </a:pPr>
            <a:r>
              <a:rPr lang="en-US" sz="4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Wiley</a:t>
            </a:r>
            <a:r>
              <a:rPr lang="zh-CN" altLang="en-US" sz="4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品质期刊助力科研创新与文章发表</a:t>
            </a:r>
            <a:endParaRPr lang="en-US" sz="4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510352" y="3865539"/>
            <a:ext cx="9144000" cy="1825577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付振平    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ley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品与解决方案顾问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2</a:t>
            </a:r>
            <a:r>
              <a: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 武汉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2155" y="501623"/>
            <a:ext cx="1314745" cy="129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5364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799912" y="1711843"/>
            <a:ext cx="6142069" cy="946298"/>
          </a:xfrm>
        </p:spPr>
        <p:txBody>
          <a:bodyPr>
            <a:no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</a:t>
            </a:r>
            <a:r>
              <a:rPr lang="en-US" altLang="zh-CN" sz="3200" dirty="0">
                <a:solidFill>
                  <a:schemeClr val="bg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ley/ </a:t>
            </a:r>
            <a:r>
              <a:rPr lang="en-US" sz="3200" dirty="0">
                <a:solidFill>
                  <a:schemeClr val="bg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ey Online Library</a:t>
            </a:r>
            <a:r>
              <a:rPr lang="zh-CN" altLang="en-US" sz="3200" dirty="0">
                <a:solidFill>
                  <a:schemeClr val="bg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简介</a:t>
            </a:r>
            <a:endParaRPr lang="en-US" sz="3200" dirty="0">
              <a:solidFill>
                <a:schemeClr val="bg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93582" y="2986094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3200" spc="-15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高品质资源获取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693582" y="3850395"/>
            <a:ext cx="573105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zh-CN" altLang="en-US" sz="3200" spc="-150" dirty="0">
                <a:solidFill>
                  <a:schemeClr val="bg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国际期刊科技论文写作与投稿</a:t>
            </a:r>
            <a:endParaRPr lang="en-US" sz="3200" spc="-150" dirty="0">
              <a:solidFill>
                <a:schemeClr val="bg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639539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E13103-B9DE-4589-A0D1-716B4F756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00456"/>
            <a:ext cx="12192000" cy="57568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5928AB-2CB4-4175-94B5-8407AEECA05A}"/>
              </a:ext>
            </a:extLst>
          </p:cNvPr>
          <p:cNvSpPr/>
          <p:nvPr/>
        </p:nvSpPr>
        <p:spPr>
          <a:xfrm>
            <a:off x="1474237" y="3278873"/>
            <a:ext cx="1160249" cy="883693"/>
          </a:xfrm>
          <a:prstGeom prst="rect">
            <a:avLst/>
          </a:prstGeom>
          <a:noFill/>
          <a:ln w="25400"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8" name="Right Arrow 9">
            <a:extLst>
              <a:ext uri="{FF2B5EF4-FFF2-40B4-BE49-F238E27FC236}">
                <a16:creationId xmlns:a16="http://schemas.microsoft.com/office/drawing/2014/main" id="{E37F4F14-4E9B-44AA-8A7D-8F2AAF2F92C7}"/>
              </a:ext>
            </a:extLst>
          </p:cNvPr>
          <p:cNvSpPr/>
          <p:nvPr/>
        </p:nvSpPr>
        <p:spPr>
          <a:xfrm>
            <a:off x="464771" y="3149142"/>
            <a:ext cx="978408" cy="484632"/>
          </a:xfrm>
          <a:prstGeom prst="rightArrow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2479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9E22F71-9D69-430B-B1D4-7822BDC58A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324" y="362857"/>
            <a:ext cx="12192000" cy="575683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990958" y="4681194"/>
            <a:ext cx="2767187" cy="265528"/>
          </a:xfrm>
          <a:prstGeom prst="rect">
            <a:avLst/>
          </a:prstGeom>
          <a:noFill/>
          <a:ln w="25400"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5981492" y="4551462"/>
            <a:ext cx="978408" cy="484632"/>
          </a:xfrm>
          <a:prstGeom prst="rightArrow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5949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A01B0E-E106-4863-B2B7-3AC908DD24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9512"/>
            <a:ext cx="12192000" cy="575683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5FA7A0A-3AE4-4471-96E6-6693F6C48D0E}"/>
              </a:ext>
            </a:extLst>
          </p:cNvPr>
          <p:cNvSpPr/>
          <p:nvPr/>
        </p:nvSpPr>
        <p:spPr>
          <a:xfrm>
            <a:off x="1654683" y="3248180"/>
            <a:ext cx="2767187" cy="265528"/>
          </a:xfrm>
          <a:prstGeom prst="rect">
            <a:avLst/>
          </a:prstGeom>
          <a:noFill/>
          <a:ln w="25400"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0" name="Right Arrow 7">
            <a:extLst>
              <a:ext uri="{FF2B5EF4-FFF2-40B4-BE49-F238E27FC236}">
                <a16:creationId xmlns:a16="http://schemas.microsoft.com/office/drawing/2014/main" id="{5B3B7C64-6509-44CF-AF4D-790B15200D93}"/>
              </a:ext>
            </a:extLst>
          </p:cNvPr>
          <p:cNvSpPr/>
          <p:nvPr/>
        </p:nvSpPr>
        <p:spPr>
          <a:xfrm>
            <a:off x="645217" y="3118448"/>
            <a:ext cx="978408" cy="484632"/>
          </a:xfrm>
          <a:prstGeom prst="rightArrow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0872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5F7BA7-3BC8-4C02-BDEE-1EA73D4632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5997"/>
            <a:ext cx="12192000" cy="57746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8F112D5-27D2-41F1-B291-8838AF8B13E3}"/>
              </a:ext>
            </a:extLst>
          </p:cNvPr>
          <p:cNvSpPr txBox="1"/>
          <p:nvPr/>
        </p:nvSpPr>
        <p:spPr>
          <a:xfrm>
            <a:off x="5911701" y="4671072"/>
            <a:ext cx="5730950" cy="46165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r>
              <a:rPr lang="en-US" sz="2400" b="1" dirty="0">
                <a:solidFill>
                  <a:srgbClr val="FF33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ttp://onlinelibrary.wiley.com/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9E8C1CE-CEF5-4D84-B5D2-D6116B295C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4101" y="258277"/>
            <a:ext cx="712171" cy="70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138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64273" y="324549"/>
            <a:ext cx="3956827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查看所有期刊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DA2857A-0CF7-4E63-9191-FECC05F80B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273" y="1069551"/>
            <a:ext cx="10645254" cy="5042078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942BC481-2334-4B9B-A5B1-6CFF92E94218}"/>
              </a:ext>
            </a:extLst>
          </p:cNvPr>
          <p:cNvGrpSpPr/>
          <p:nvPr/>
        </p:nvGrpSpPr>
        <p:grpSpPr>
          <a:xfrm>
            <a:off x="2334356" y="4176215"/>
            <a:ext cx="2534709" cy="963374"/>
            <a:chOff x="800250" y="3125337"/>
            <a:chExt cx="1901032" cy="963374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46DF36E-472E-4028-A483-800BD5E600A0}"/>
                </a:ext>
              </a:extLst>
            </p:cNvPr>
            <p:cNvSpPr/>
            <p:nvPr/>
          </p:nvSpPr>
          <p:spPr>
            <a:xfrm>
              <a:off x="800250" y="3125337"/>
              <a:ext cx="1901031" cy="449191"/>
            </a:xfrm>
            <a:prstGeom prst="rect">
              <a:avLst/>
            </a:prstGeom>
            <a:noFill/>
            <a:ln>
              <a:solidFill>
                <a:srgbClr val="FF6C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1" tIns="45711" rIns="91421" bIns="45711" rtlCol="0" anchor="ctr"/>
            <a:lstStyle/>
            <a:p>
              <a:pPr algn="ctr" defTabSz="1029957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74F60F-D62A-4DFC-B27E-5B3989EDC38F}"/>
                </a:ext>
              </a:extLst>
            </p:cNvPr>
            <p:cNvSpPr/>
            <p:nvPr/>
          </p:nvSpPr>
          <p:spPr>
            <a:xfrm>
              <a:off x="1216941" y="3574527"/>
              <a:ext cx="1484341" cy="514184"/>
            </a:xfrm>
            <a:prstGeom prst="rect">
              <a:avLst/>
            </a:prstGeom>
            <a:solidFill>
              <a:srgbClr val="FF6C11"/>
            </a:solidFill>
            <a:ln>
              <a:solidFill>
                <a:srgbClr val="FF6C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1" tIns="45711" rIns="91421" bIns="45711" rtlCol="0" anchor="ctr"/>
            <a:lstStyle/>
            <a:p>
              <a:pPr algn="ctr" defTabSz="1029957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dirty="0">
                  <a:solidFill>
                    <a:srgbClr val="FFFFFF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查看所有期刊</a:t>
              </a:r>
              <a:endParaRPr lang="en-US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29172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939155D-0752-4CCF-95F3-5FFD3E8635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68778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F3E66C5-8F17-44B3-86A0-7846A8E3188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2716"/>
          <a:stretch/>
        </p:blipFill>
        <p:spPr>
          <a:xfrm>
            <a:off x="0" y="5191373"/>
            <a:ext cx="12192000" cy="166662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A84BE70-D170-4029-9727-29B7CAE2EF3E}"/>
              </a:ext>
            </a:extLst>
          </p:cNvPr>
          <p:cNvSpPr/>
          <p:nvPr/>
        </p:nvSpPr>
        <p:spPr>
          <a:xfrm>
            <a:off x="1392661" y="3302759"/>
            <a:ext cx="1241357" cy="449191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60CAF2-7EB9-42C1-8251-55B31BB04139}"/>
              </a:ext>
            </a:extLst>
          </p:cNvPr>
          <p:cNvSpPr/>
          <p:nvPr/>
        </p:nvSpPr>
        <p:spPr>
          <a:xfrm>
            <a:off x="1392660" y="5352198"/>
            <a:ext cx="941107" cy="449191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4819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1136455" y="184732"/>
            <a:ext cx="3672255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按学科浏览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302050-971E-4D63-9EFD-155DFEACA7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04101"/>
            <a:ext cx="12192000" cy="544979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F123B7E-0E5B-4728-BE22-EDCE5D2549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850" y="1542964"/>
            <a:ext cx="12192000" cy="4637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148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19349" y="145406"/>
            <a:ext cx="3672255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按照学科进行浏览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654993" y="2597295"/>
            <a:ext cx="2126376" cy="1939694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100438" y="1887069"/>
            <a:ext cx="5146225" cy="1555389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096001" y="1372883"/>
            <a:ext cx="2174947" cy="51418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期刊与图书展示</a:t>
            </a:r>
            <a:endParaRPr lang="en-US" sz="16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781369" y="4011971"/>
            <a:ext cx="934075" cy="51418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专题</a:t>
            </a:r>
            <a:endParaRPr lang="en-US" sz="16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27907" y="3965198"/>
            <a:ext cx="3225992" cy="51418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查看该学科下所有出版物</a:t>
            </a:r>
            <a:endParaRPr lang="en-US" sz="16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100436" y="3520529"/>
            <a:ext cx="2227472" cy="172677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rot="5400000" flipH="1" flipV="1">
            <a:off x="5190747" y="3830364"/>
            <a:ext cx="274320" cy="0"/>
          </a:xfrm>
          <a:prstGeom prst="straightConnector1">
            <a:avLst/>
          </a:prstGeom>
          <a:noFill/>
          <a:ln>
            <a:solidFill>
              <a:srgbClr val="FF6C1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99379EE8-CD12-4128-A6C3-F394E7B734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535289"/>
            <a:ext cx="12192000" cy="48894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FF1ACA3-E235-4F0C-ADE2-54215EE002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0187"/>
          <a:stretch/>
        </p:blipFill>
        <p:spPr>
          <a:xfrm>
            <a:off x="1" y="4001137"/>
            <a:ext cx="12192000" cy="26773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D0442D5-F373-4E30-86F3-FF0D4DF897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80369"/>
            <a:ext cx="12192000" cy="48333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032E34-6F60-483D-96D6-8F437FE67CE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941"/>
          <a:stretch/>
        </p:blipFill>
        <p:spPr>
          <a:xfrm>
            <a:off x="1" y="4278279"/>
            <a:ext cx="12192000" cy="253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569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 animBg="1"/>
      <p:bldP spid="20" grpId="0" animBg="1"/>
      <p:bldP spid="2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36C7DC1-8E85-4A58-B7BF-D622BE5990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71647"/>
            <a:ext cx="12192000" cy="576563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9348" y="145406"/>
            <a:ext cx="5343101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可以按照学科查看出版物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6030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-12172" y="374"/>
            <a:ext cx="12204172" cy="6150055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636267" y="1553972"/>
            <a:ext cx="6096001" cy="3269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ey</a:t>
            </a:r>
            <a:r>
              <a:rPr lang="zh-CN" alt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作为一家国际性公司，始终致力于帮助机构与个人拓展通向成功所需的知识与技能。我们提供科学、技术、医学和人文社科期刊与在线学习、评估与认证相结合的解决方案，帮助高校、研究机构、学术团体、企业、政府以及个人提高学术和专业影响力。</a:t>
            </a:r>
            <a:r>
              <a:rPr 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ey</a:t>
            </a:r>
            <a:r>
              <a:rPr lang="zh-CN" alt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自</a:t>
            </a:r>
            <a:r>
              <a:rPr 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807</a:t>
            </a:r>
            <a:r>
              <a:rPr lang="zh-CN" alt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创建至今，已拥有超过</a:t>
            </a:r>
            <a:r>
              <a:rPr 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0</a:t>
            </a:r>
            <a:r>
              <a:rPr lang="zh-CN" alt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历史，全球总部位于美国新泽西州的霍博肯（</a:t>
            </a:r>
            <a:r>
              <a:rPr 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oboken</a:t>
            </a:r>
            <a:r>
              <a:rPr lang="zh-CN" altLang="en-US" sz="20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。</a:t>
            </a:r>
            <a:endParaRPr lang="en-US" sz="20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3725" y="1292153"/>
            <a:ext cx="4773690" cy="4169408"/>
            <a:chOff x="449552" y="1378971"/>
            <a:chExt cx="5300406" cy="4629449"/>
          </a:xfrm>
        </p:grpSpPr>
        <p:grpSp>
          <p:nvGrpSpPr>
            <p:cNvPr id="13" name="Group 12"/>
            <p:cNvGrpSpPr/>
            <p:nvPr/>
          </p:nvGrpSpPr>
          <p:grpSpPr>
            <a:xfrm>
              <a:off x="1764895" y="5105830"/>
              <a:ext cx="634379" cy="902590"/>
              <a:chOff x="-887258" y="4361339"/>
              <a:chExt cx="863600" cy="1228725"/>
            </a:xfrm>
          </p:grpSpPr>
          <p:sp>
            <p:nvSpPr>
              <p:cNvPr id="46" name="Freeform 70">
                <a:extLst>
                  <a:ext uri="{FF2B5EF4-FFF2-40B4-BE49-F238E27FC236}">
                    <a16:creationId xmlns:a16="http://schemas.microsoft.com/office/drawing/2014/main" id="{76153253-E1FD-4BBA-9E08-A539D2F23C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87258" y="4361339"/>
                <a:ext cx="863600" cy="1204913"/>
              </a:xfrm>
              <a:custGeom>
                <a:avLst/>
                <a:gdLst>
                  <a:gd name="T0" fmla="*/ 0 w 544"/>
                  <a:gd name="T1" fmla="*/ 0 h 759"/>
                  <a:gd name="T2" fmla="*/ 2147483646 w 544"/>
                  <a:gd name="T3" fmla="*/ 0 h 759"/>
                  <a:gd name="T4" fmla="*/ 2147483646 w 544"/>
                  <a:gd name="T5" fmla="*/ 2147483646 h 759"/>
                  <a:gd name="T6" fmla="*/ 0 w 544"/>
                  <a:gd name="T7" fmla="*/ 2147483646 h 759"/>
                  <a:gd name="T8" fmla="*/ 0 w 544"/>
                  <a:gd name="T9" fmla="*/ 0 h 759"/>
                  <a:gd name="T10" fmla="*/ 0 w 544"/>
                  <a:gd name="T11" fmla="*/ 0 h 7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44"/>
                  <a:gd name="T19" fmla="*/ 0 h 759"/>
                  <a:gd name="T20" fmla="*/ 544 w 544"/>
                  <a:gd name="T21" fmla="*/ 759 h 75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44" h="759">
                    <a:moveTo>
                      <a:pt x="0" y="0"/>
                    </a:moveTo>
                    <a:lnTo>
                      <a:pt x="544" y="0"/>
                    </a:lnTo>
                    <a:lnTo>
                      <a:pt x="544" y="759"/>
                    </a:lnTo>
                    <a:lnTo>
                      <a:pt x="0" y="75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7">
                <a:solidFill>
                  <a:schemeClr val="bg1">
                    <a:lumMod val="85000"/>
                    <a:alpha val="70000"/>
                  </a:scheme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7" name="Freeform 71">
                <a:extLst>
                  <a:ext uri="{FF2B5EF4-FFF2-40B4-BE49-F238E27FC236}">
                    <a16:creationId xmlns:a16="http://schemas.microsoft.com/office/drawing/2014/main" id="{B2E6E9AC-FEF1-407C-94B2-8F3248E490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887258" y="4361339"/>
                <a:ext cx="782637" cy="450850"/>
              </a:xfrm>
              <a:custGeom>
                <a:avLst/>
                <a:gdLst>
                  <a:gd name="T0" fmla="*/ 2147483646 w 298"/>
                  <a:gd name="T1" fmla="*/ 2147483646 h 172"/>
                  <a:gd name="T2" fmla="*/ 2147483646 w 298"/>
                  <a:gd name="T3" fmla="*/ 2147483646 h 172"/>
                  <a:gd name="T4" fmla="*/ 2147483646 w 298"/>
                  <a:gd name="T5" fmla="*/ 2147483646 h 172"/>
                  <a:gd name="T6" fmla="*/ 2147483646 w 298"/>
                  <a:gd name="T7" fmla="*/ 2147483646 h 172"/>
                  <a:gd name="T8" fmla="*/ 2147483646 w 298"/>
                  <a:gd name="T9" fmla="*/ 2147483646 h 172"/>
                  <a:gd name="T10" fmla="*/ 2147483646 w 298"/>
                  <a:gd name="T11" fmla="*/ 2147483646 h 172"/>
                  <a:gd name="T12" fmla="*/ 2147483646 w 298"/>
                  <a:gd name="T13" fmla="*/ 0 h 172"/>
                  <a:gd name="T14" fmla="*/ 2147483646 w 298"/>
                  <a:gd name="T15" fmla="*/ 2147483646 h 172"/>
                  <a:gd name="T16" fmla="*/ 2147483646 w 298"/>
                  <a:gd name="T17" fmla="*/ 2147483646 h 172"/>
                  <a:gd name="T18" fmla="*/ 2147483646 w 298"/>
                  <a:gd name="T19" fmla="*/ 2147483646 h 172"/>
                  <a:gd name="T20" fmla="*/ 2147483646 w 298"/>
                  <a:gd name="T21" fmla="*/ 2147483646 h 172"/>
                  <a:gd name="T22" fmla="*/ 2147483646 w 298"/>
                  <a:gd name="T23" fmla="*/ 0 h 172"/>
                  <a:gd name="T24" fmla="*/ 2147483646 w 298"/>
                  <a:gd name="T25" fmla="*/ 2147483646 h 172"/>
                  <a:gd name="T26" fmla="*/ 2147483646 w 298"/>
                  <a:gd name="T27" fmla="*/ 2147483646 h 172"/>
                  <a:gd name="T28" fmla="*/ 2147483646 w 298"/>
                  <a:gd name="T29" fmla="*/ 2147483646 h 172"/>
                  <a:gd name="T30" fmla="*/ 2147483646 w 298"/>
                  <a:gd name="T31" fmla="*/ 0 h 172"/>
                  <a:gd name="T32" fmla="*/ 2147483646 w 298"/>
                  <a:gd name="T33" fmla="*/ 2147483646 h 172"/>
                  <a:gd name="T34" fmla="*/ 2147483646 w 298"/>
                  <a:gd name="T35" fmla="*/ 2147483646 h 172"/>
                  <a:gd name="T36" fmla="*/ 2147483646 w 298"/>
                  <a:gd name="T37" fmla="*/ 2147483646 h 172"/>
                  <a:gd name="T38" fmla="*/ 2147483646 w 298"/>
                  <a:gd name="T39" fmla="*/ 2147483646 h 172"/>
                  <a:gd name="T40" fmla="*/ 0 w 298"/>
                  <a:gd name="T41" fmla="*/ 2147483646 h 172"/>
                  <a:gd name="T42" fmla="*/ 2147483646 w 298"/>
                  <a:gd name="T43" fmla="*/ 2147483646 h 172"/>
                  <a:gd name="T44" fmla="*/ 2147483646 w 298"/>
                  <a:gd name="T45" fmla="*/ 2147483646 h 172"/>
                  <a:gd name="T46" fmla="*/ 2147483646 w 298"/>
                  <a:gd name="T47" fmla="*/ 2147483646 h 172"/>
                  <a:gd name="T48" fmla="*/ 2147483646 w 298"/>
                  <a:gd name="T49" fmla="*/ 2147483646 h 172"/>
                  <a:gd name="T50" fmla="*/ 2147483646 w 298"/>
                  <a:gd name="T51" fmla="*/ 2147483646 h 172"/>
                  <a:gd name="T52" fmla="*/ 2147483646 w 298"/>
                  <a:gd name="T53" fmla="*/ 2147483646 h 172"/>
                  <a:gd name="T54" fmla="*/ 2147483646 w 298"/>
                  <a:gd name="T55" fmla="*/ 2147483646 h 172"/>
                  <a:gd name="T56" fmla="*/ 2147483646 w 298"/>
                  <a:gd name="T57" fmla="*/ 2147483646 h 172"/>
                  <a:gd name="T58" fmla="*/ 2147483646 w 298"/>
                  <a:gd name="T59" fmla="*/ 2147483646 h 172"/>
                  <a:gd name="T60" fmla="*/ 2147483646 w 298"/>
                  <a:gd name="T61" fmla="*/ 2147483646 h 172"/>
                  <a:gd name="T62" fmla="*/ 2147483646 w 298"/>
                  <a:gd name="T63" fmla="*/ 2147483646 h 172"/>
                  <a:gd name="T64" fmla="*/ 2147483646 w 298"/>
                  <a:gd name="T65" fmla="*/ 2147483646 h 172"/>
                  <a:gd name="T66" fmla="*/ 2147483646 w 298"/>
                  <a:gd name="T67" fmla="*/ 2147483646 h 172"/>
                  <a:gd name="T68" fmla="*/ 2147483646 w 298"/>
                  <a:gd name="T69" fmla="*/ 2147483646 h 172"/>
                  <a:gd name="T70" fmla="*/ 2147483646 w 298"/>
                  <a:gd name="T71" fmla="*/ 2147483646 h 172"/>
                  <a:gd name="T72" fmla="*/ 2147483646 w 298"/>
                  <a:gd name="T73" fmla="*/ 2147483646 h 172"/>
                  <a:gd name="T74" fmla="*/ 2147483646 w 298"/>
                  <a:gd name="T75" fmla="*/ 2147483646 h 172"/>
                  <a:gd name="T76" fmla="*/ 2147483646 w 298"/>
                  <a:gd name="T77" fmla="*/ 2147483646 h 172"/>
                  <a:gd name="T78" fmla="*/ 2147483646 w 298"/>
                  <a:gd name="T79" fmla="*/ 2147483646 h 172"/>
                  <a:gd name="T80" fmla="*/ 2147483646 w 298"/>
                  <a:gd name="T81" fmla="*/ 2147483646 h 172"/>
                  <a:gd name="T82" fmla="*/ 2147483646 w 298"/>
                  <a:gd name="T83" fmla="*/ 2147483646 h 172"/>
                  <a:gd name="T84" fmla="*/ 2147483646 w 298"/>
                  <a:gd name="T85" fmla="*/ 2147483646 h 172"/>
                  <a:gd name="T86" fmla="*/ 2147483646 w 298"/>
                  <a:gd name="T87" fmla="*/ 2147483646 h 172"/>
                  <a:gd name="T88" fmla="*/ 2147483646 w 298"/>
                  <a:gd name="T89" fmla="*/ 2147483646 h 172"/>
                  <a:gd name="T90" fmla="*/ 2147483646 w 298"/>
                  <a:gd name="T91" fmla="*/ 2147483646 h 172"/>
                  <a:gd name="T92" fmla="*/ 2147483646 w 298"/>
                  <a:gd name="T93" fmla="*/ 2147483646 h 172"/>
                  <a:gd name="T94" fmla="*/ 2147483646 w 298"/>
                  <a:gd name="T95" fmla="*/ 2147483646 h 172"/>
                  <a:gd name="T96" fmla="*/ 2147483646 w 298"/>
                  <a:gd name="T97" fmla="*/ 2147483646 h 172"/>
                  <a:gd name="T98" fmla="*/ 2147483646 w 298"/>
                  <a:gd name="T99" fmla="*/ 2147483646 h 172"/>
                  <a:gd name="T100" fmla="*/ 2147483646 w 298"/>
                  <a:gd name="T101" fmla="*/ 2147483646 h 17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98"/>
                  <a:gd name="T154" fmla="*/ 0 h 172"/>
                  <a:gd name="T155" fmla="*/ 298 w 298"/>
                  <a:gd name="T156" fmla="*/ 172 h 17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98" h="172">
                    <a:moveTo>
                      <a:pt x="77" y="172"/>
                    </a:moveTo>
                    <a:cubicBezTo>
                      <a:pt x="74" y="171"/>
                      <a:pt x="71" y="170"/>
                      <a:pt x="66" y="169"/>
                    </a:cubicBezTo>
                    <a:cubicBezTo>
                      <a:pt x="61" y="164"/>
                      <a:pt x="63" y="161"/>
                      <a:pt x="63" y="156"/>
                    </a:cubicBezTo>
                    <a:cubicBezTo>
                      <a:pt x="64" y="151"/>
                      <a:pt x="63" y="152"/>
                      <a:pt x="69" y="151"/>
                    </a:cubicBezTo>
                    <a:cubicBezTo>
                      <a:pt x="69" y="150"/>
                      <a:pt x="70" y="149"/>
                      <a:pt x="71" y="149"/>
                    </a:cubicBezTo>
                    <a:cubicBezTo>
                      <a:pt x="71" y="147"/>
                      <a:pt x="71" y="144"/>
                      <a:pt x="71" y="142"/>
                    </a:cubicBezTo>
                    <a:cubicBezTo>
                      <a:pt x="71" y="142"/>
                      <a:pt x="71" y="142"/>
                      <a:pt x="72" y="142"/>
                    </a:cubicBezTo>
                    <a:cubicBezTo>
                      <a:pt x="73" y="142"/>
                      <a:pt x="75" y="143"/>
                      <a:pt x="78" y="142"/>
                    </a:cubicBezTo>
                    <a:cubicBezTo>
                      <a:pt x="81" y="141"/>
                      <a:pt x="83" y="139"/>
                      <a:pt x="86" y="137"/>
                    </a:cubicBezTo>
                    <a:cubicBezTo>
                      <a:pt x="91" y="137"/>
                      <a:pt x="96" y="137"/>
                      <a:pt x="101" y="137"/>
                    </a:cubicBezTo>
                    <a:cubicBezTo>
                      <a:pt x="102" y="137"/>
                      <a:pt x="105" y="139"/>
                      <a:pt x="105" y="143"/>
                    </a:cubicBezTo>
                    <a:cubicBezTo>
                      <a:pt x="104" y="146"/>
                      <a:pt x="103" y="148"/>
                      <a:pt x="101" y="150"/>
                    </a:cubicBezTo>
                    <a:cubicBezTo>
                      <a:pt x="99" y="153"/>
                      <a:pt x="97" y="156"/>
                      <a:pt x="96" y="161"/>
                    </a:cubicBezTo>
                    <a:cubicBezTo>
                      <a:pt x="90" y="164"/>
                      <a:pt x="85" y="167"/>
                      <a:pt x="80" y="171"/>
                    </a:cubicBezTo>
                    <a:cubicBezTo>
                      <a:pt x="79" y="172"/>
                      <a:pt x="78" y="172"/>
                      <a:pt x="77" y="172"/>
                    </a:cubicBezTo>
                    <a:close/>
                    <a:moveTo>
                      <a:pt x="0" y="0"/>
                    </a:moveTo>
                    <a:cubicBezTo>
                      <a:pt x="73" y="0"/>
                      <a:pt x="73" y="0"/>
                      <a:pt x="73" y="0"/>
                    </a:cubicBezTo>
                    <a:cubicBezTo>
                      <a:pt x="73" y="2"/>
                      <a:pt x="73" y="5"/>
                      <a:pt x="73" y="8"/>
                    </a:cubicBezTo>
                    <a:cubicBezTo>
                      <a:pt x="73" y="10"/>
                      <a:pt x="74" y="11"/>
                      <a:pt x="77" y="13"/>
                    </a:cubicBezTo>
                    <a:cubicBezTo>
                      <a:pt x="77" y="14"/>
                      <a:pt x="78" y="15"/>
                      <a:pt x="79" y="17"/>
                    </a:cubicBezTo>
                    <a:cubicBezTo>
                      <a:pt x="75" y="17"/>
                      <a:pt x="73" y="19"/>
                      <a:pt x="70" y="20"/>
                    </a:cubicBezTo>
                    <a:cubicBezTo>
                      <a:pt x="66" y="25"/>
                      <a:pt x="61" y="27"/>
                      <a:pt x="57" y="31"/>
                    </a:cubicBezTo>
                    <a:cubicBezTo>
                      <a:pt x="54" y="33"/>
                      <a:pt x="50" y="34"/>
                      <a:pt x="47" y="33"/>
                    </a:cubicBezTo>
                    <a:cubicBezTo>
                      <a:pt x="45" y="33"/>
                      <a:pt x="44" y="32"/>
                      <a:pt x="41" y="31"/>
                    </a:cubicBezTo>
                    <a:cubicBezTo>
                      <a:pt x="37" y="25"/>
                      <a:pt x="37" y="27"/>
                      <a:pt x="33" y="26"/>
                    </a:cubicBezTo>
                    <a:cubicBezTo>
                      <a:pt x="32" y="27"/>
                      <a:pt x="31" y="27"/>
                      <a:pt x="31" y="29"/>
                    </a:cubicBezTo>
                    <a:cubicBezTo>
                      <a:pt x="31" y="30"/>
                      <a:pt x="31" y="31"/>
                      <a:pt x="31" y="32"/>
                    </a:cubicBezTo>
                    <a:cubicBezTo>
                      <a:pt x="28" y="35"/>
                      <a:pt x="24" y="38"/>
                      <a:pt x="22" y="42"/>
                    </a:cubicBezTo>
                    <a:cubicBezTo>
                      <a:pt x="19" y="43"/>
                      <a:pt x="16" y="43"/>
                      <a:pt x="15" y="44"/>
                    </a:cubicBezTo>
                    <a:cubicBezTo>
                      <a:pt x="10" y="42"/>
                      <a:pt x="9" y="40"/>
                      <a:pt x="7" y="38"/>
                    </a:cubicBezTo>
                    <a:cubicBezTo>
                      <a:pt x="6" y="38"/>
                      <a:pt x="5" y="37"/>
                      <a:pt x="4" y="37"/>
                    </a:cubicBezTo>
                    <a:cubicBezTo>
                      <a:pt x="2" y="37"/>
                      <a:pt x="1" y="37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74" y="0"/>
                    </a:moveTo>
                    <a:cubicBezTo>
                      <a:pt x="153" y="0"/>
                      <a:pt x="153" y="0"/>
                      <a:pt x="153" y="0"/>
                    </a:cubicBezTo>
                    <a:cubicBezTo>
                      <a:pt x="153" y="2"/>
                      <a:pt x="154" y="3"/>
                      <a:pt x="154" y="4"/>
                    </a:cubicBezTo>
                    <a:cubicBezTo>
                      <a:pt x="156" y="8"/>
                      <a:pt x="156" y="10"/>
                      <a:pt x="155" y="14"/>
                    </a:cubicBezTo>
                    <a:cubicBezTo>
                      <a:pt x="155" y="17"/>
                      <a:pt x="155" y="20"/>
                      <a:pt x="156" y="25"/>
                    </a:cubicBezTo>
                    <a:cubicBezTo>
                      <a:pt x="150" y="25"/>
                      <a:pt x="144" y="25"/>
                      <a:pt x="137" y="25"/>
                    </a:cubicBezTo>
                    <a:cubicBezTo>
                      <a:pt x="135" y="27"/>
                      <a:pt x="138" y="31"/>
                      <a:pt x="140" y="33"/>
                    </a:cubicBezTo>
                    <a:cubicBezTo>
                      <a:pt x="140" y="34"/>
                      <a:pt x="139" y="35"/>
                      <a:pt x="139" y="36"/>
                    </a:cubicBezTo>
                    <a:cubicBezTo>
                      <a:pt x="137" y="36"/>
                      <a:pt x="133" y="31"/>
                      <a:pt x="133" y="31"/>
                    </a:cubicBezTo>
                    <a:cubicBezTo>
                      <a:pt x="131" y="31"/>
                      <a:pt x="129" y="31"/>
                      <a:pt x="127" y="31"/>
                    </a:cubicBezTo>
                    <a:cubicBezTo>
                      <a:pt x="126" y="32"/>
                      <a:pt x="125" y="34"/>
                      <a:pt x="124" y="36"/>
                    </a:cubicBezTo>
                    <a:cubicBezTo>
                      <a:pt x="124" y="37"/>
                      <a:pt x="124" y="41"/>
                      <a:pt x="121" y="43"/>
                    </a:cubicBezTo>
                    <a:cubicBezTo>
                      <a:pt x="118" y="40"/>
                      <a:pt x="114" y="42"/>
                      <a:pt x="112" y="42"/>
                    </a:cubicBezTo>
                    <a:cubicBezTo>
                      <a:pt x="111" y="42"/>
                      <a:pt x="111" y="41"/>
                      <a:pt x="110" y="40"/>
                    </a:cubicBezTo>
                    <a:cubicBezTo>
                      <a:pt x="110" y="34"/>
                      <a:pt x="106" y="35"/>
                      <a:pt x="104" y="35"/>
                    </a:cubicBezTo>
                    <a:cubicBezTo>
                      <a:pt x="104" y="35"/>
                      <a:pt x="104" y="34"/>
                      <a:pt x="104" y="33"/>
                    </a:cubicBezTo>
                    <a:cubicBezTo>
                      <a:pt x="106" y="29"/>
                      <a:pt x="109" y="24"/>
                      <a:pt x="109" y="20"/>
                    </a:cubicBezTo>
                    <a:cubicBezTo>
                      <a:pt x="107" y="17"/>
                      <a:pt x="104" y="15"/>
                      <a:pt x="104" y="12"/>
                    </a:cubicBezTo>
                    <a:cubicBezTo>
                      <a:pt x="102" y="9"/>
                      <a:pt x="101" y="10"/>
                      <a:pt x="99" y="10"/>
                    </a:cubicBezTo>
                    <a:cubicBezTo>
                      <a:pt x="97" y="11"/>
                      <a:pt x="95" y="11"/>
                      <a:pt x="93" y="11"/>
                    </a:cubicBezTo>
                    <a:cubicBezTo>
                      <a:pt x="90" y="14"/>
                      <a:pt x="88" y="15"/>
                      <a:pt x="86" y="16"/>
                    </a:cubicBezTo>
                    <a:cubicBezTo>
                      <a:pt x="84" y="16"/>
                      <a:pt x="82" y="17"/>
                      <a:pt x="80" y="17"/>
                    </a:cubicBezTo>
                    <a:cubicBezTo>
                      <a:pt x="80" y="12"/>
                      <a:pt x="77" y="11"/>
                      <a:pt x="75" y="9"/>
                    </a:cubicBezTo>
                    <a:cubicBezTo>
                      <a:pt x="74" y="8"/>
                      <a:pt x="74" y="8"/>
                      <a:pt x="74" y="8"/>
                    </a:cubicBezTo>
                    <a:cubicBezTo>
                      <a:pt x="74" y="5"/>
                      <a:pt x="74" y="2"/>
                      <a:pt x="74" y="0"/>
                    </a:cubicBezTo>
                    <a:close/>
                    <a:moveTo>
                      <a:pt x="155" y="0"/>
                    </a:move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1"/>
                      <a:pt x="200" y="1"/>
                      <a:pt x="200" y="2"/>
                    </a:cubicBezTo>
                    <a:cubicBezTo>
                      <a:pt x="200" y="3"/>
                      <a:pt x="200" y="6"/>
                      <a:pt x="199" y="7"/>
                    </a:cubicBezTo>
                    <a:cubicBezTo>
                      <a:pt x="195" y="11"/>
                      <a:pt x="194" y="11"/>
                      <a:pt x="194" y="17"/>
                    </a:cubicBezTo>
                    <a:cubicBezTo>
                      <a:pt x="194" y="18"/>
                      <a:pt x="195" y="19"/>
                      <a:pt x="195" y="20"/>
                    </a:cubicBezTo>
                    <a:cubicBezTo>
                      <a:pt x="194" y="23"/>
                      <a:pt x="192" y="29"/>
                      <a:pt x="193" y="33"/>
                    </a:cubicBezTo>
                    <a:cubicBezTo>
                      <a:pt x="193" y="34"/>
                      <a:pt x="193" y="35"/>
                      <a:pt x="194" y="35"/>
                    </a:cubicBezTo>
                    <a:cubicBezTo>
                      <a:pt x="192" y="36"/>
                      <a:pt x="189" y="37"/>
                      <a:pt x="187" y="39"/>
                    </a:cubicBezTo>
                    <a:cubicBezTo>
                      <a:pt x="183" y="35"/>
                      <a:pt x="179" y="38"/>
                      <a:pt x="174" y="40"/>
                    </a:cubicBezTo>
                    <a:cubicBezTo>
                      <a:pt x="172" y="40"/>
                      <a:pt x="171" y="41"/>
                      <a:pt x="169" y="41"/>
                    </a:cubicBezTo>
                    <a:cubicBezTo>
                      <a:pt x="168" y="40"/>
                      <a:pt x="165" y="40"/>
                      <a:pt x="164" y="40"/>
                    </a:cubicBezTo>
                    <a:cubicBezTo>
                      <a:pt x="164" y="39"/>
                      <a:pt x="164" y="39"/>
                      <a:pt x="164" y="39"/>
                    </a:cubicBezTo>
                    <a:cubicBezTo>
                      <a:pt x="167" y="36"/>
                      <a:pt x="170" y="33"/>
                      <a:pt x="172" y="30"/>
                    </a:cubicBezTo>
                    <a:cubicBezTo>
                      <a:pt x="172" y="26"/>
                      <a:pt x="171" y="25"/>
                      <a:pt x="171" y="24"/>
                    </a:cubicBezTo>
                    <a:cubicBezTo>
                      <a:pt x="167" y="24"/>
                      <a:pt x="165" y="24"/>
                      <a:pt x="163" y="25"/>
                    </a:cubicBezTo>
                    <a:cubicBezTo>
                      <a:pt x="162" y="25"/>
                      <a:pt x="160" y="25"/>
                      <a:pt x="158" y="26"/>
                    </a:cubicBezTo>
                    <a:cubicBezTo>
                      <a:pt x="158" y="23"/>
                      <a:pt x="157" y="21"/>
                      <a:pt x="156" y="19"/>
                    </a:cubicBezTo>
                    <a:cubicBezTo>
                      <a:pt x="156" y="14"/>
                      <a:pt x="158" y="10"/>
                      <a:pt x="157" y="4"/>
                    </a:cubicBezTo>
                    <a:cubicBezTo>
                      <a:pt x="156" y="4"/>
                      <a:pt x="156" y="3"/>
                      <a:pt x="155" y="3"/>
                    </a:cubicBezTo>
                    <a:cubicBezTo>
                      <a:pt x="155" y="2"/>
                      <a:pt x="155" y="1"/>
                      <a:pt x="155" y="0"/>
                    </a:cubicBezTo>
                    <a:close/>
                    <a:moveTo>
                      <a:pt x="202" y="0"/>
                    </a:moveTo>
                    <a:cubicBezTo>
                      <a:pt x="255" y="0"/>
                      <a:pt x="255" y="0"/>
                      <a:pt x="255" y="0"/>
                    </a:cubicBezTo>
                    <a:cubicBezTo>
                      <a:pt x="254" y="4"/>
                      <a:pt x="252" y="8"/>
                      <a:pt x="254" y="12"/>
                    </a:cubicBezTo>
                    <a:cubicBezTo>
                      <a:pt x="255" y="12"/>
                      <a:pt x="255" y="13"/>
                      <a:pt x="256" y="13"/>
                    </a:cubicBezTo>
                    <a:cubicBezTo>
                      <a:pt x="256" y="14"/>
                      <a:pt x="256" y="14"/>
                      <a:pt x="256" y="14"/>
                    </a:cubicBezTo>
                    <a:cubicBezTo>
                      <a:pt x="255" y="13"/>
                      <a:pt x="255" y="13"/>
                      <a:pt x="255" y="13"/>
                    </a:cubicBezTo>
                    <a:cubicBezTo>
                      <a:pt x="254" y="13"/>
                      <a:pt x="252" y="13"/>
                      <a:pt x="250" y="14"/>
                    </a:cubicBezTo>
                    <a:cubicBezTo>
                      <a:pt x="249" y="15"/>
                      <a:pt x="250" y="15"/>
                      <a:pt x="250" y="18"/>
                    </a:cubicBezTo>
                    <a:cubicBezTo>
                      <a:pt x="245" y="22"/>
                      <a:pt x="246" y="20"/>
                      <a:pt x="245" y="27"/>
                    </a:cubicBezTo>
                    <a:cubicBezTo>
                      <a:pt x="244" y="29"/>
                      <a:pt x="242" y="30"/>
                      <a:pt x="241" y="31"/>
                    </a:cubicBezTo>
                    <a:cubicBezTo>
                      <a:pt x="238" y="31"/>
                      <a:pt x="236" y="32"/>
                      <a:pt x="235" y="32"/>
                    </a:cubicBezTo>
                    <a:cubicBezTo>
                      <a:pt x="233" y="33"/>
                      <a:pt x="233" y="35"/>
                      <a:pt x="236" y="37"/>
                    </a:cubicBezTo>
                    <a:cubicBezTo>
                      <a:pt x="230" y="38"/>
                      <a:pt x="227" y="43"/>
                      <a:pt x="224" y="47"/>
                    </a:cubicBezTo>
                    <a:cubicBezTo>
                      <a:pt x="224" y="47"/>
                      <a:pt x="224" y="48"/>
                      <a:pt x="223" y="49"/>
                    </a:cubicBezTo>
                    <a:cubicBezTo>
                      <a:pt x="222" y="52"/>
                      <a:pt x="220" y="53"/>
                      <a:pt x="218" y="54"/>
                    </a:cubicBezTo>
                    <a:cubicBezTo>
                      <a:pt x="218" y="50"/>
                      <a:pt x="216" y="48"/>
                      <a:pt x="214" y="47"/>
                    </a:cubicBezTo>
                    <a:cubicBezTo>
                      <a:pt x="214" y="47"/>
                      <a:pt x="214" y="47"/>
                      <a:pt x="214" y="47"/>
                    </a:cubicBezTo>
                    <a:cubicBezTo>
                      <a:pt x="211" y="42"/>
                      <a:pt x="208" y="38"/>
                      <a:pt x="204" y="34"/>
                    </a:cubicBezTo>
                    <a:cubicBezTo>
                      <a:pt x="200" y="33"/>
                      <a:pt x="197" y="34"/>
                      <a:pt x="195" y="33"/>
                    </a:cubicBezTo>
                    <a:cubicBezTo>
                      <a:pt x="194" y="29"/>
                      <a:pt x="195" y="26"/>
                      <a:pt x="196" y="22"/>
                    </a:cubicBezTo>
                    <a:cubicBezTo>
                      <a:pt x="197" y="19"/>
                      <a:pt x="196" y="16"/>
                      <a:pt x="196" y="14"/>
                    </a:cubicBezTo>
                    <a:cubicBezTo>
                      <a:pt x="198" y="11"/>
                      <a:pt x="200" y="9"/>
                      <a:pt x="201" y="7"/>
                    </a:cubicBezTo>
                    <a:cubicBezTo>
                      <a:pt x="201" y="6"/>
                      <a:pt x="202" y="4"/>
                      <a:pt x="202" y="2"/>
                    </a:cubicBezTo>
                    <a:cubicBezTo>
                      <a:pt x="202" y="2"/>
                      <a:pt x="202" y="1"/>
                      <a:pt x="202" y="0"/>
                    </a:cubicBezTo>
                    <a:close/>
                    <a:moveTo>
                      <a:pt x="0" y="70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2" y="56"/>
                      <a:pt x="4" y="56"/>
                      <a:pt x="6" y="57"/>
                    </a:cubicBezTo>
                    <a:cubicBezTo>
                      <a:pt x="7" y="57"/>
                      <a:pt x="8" y="58"/>
                      <a:pt x="10" y="59"/>
                    </a:cubicBezTo>
                    <a:cubicBezTo>
                      <a:pt x="11" y="59"/>
                      <a:pt x="13" y="59"/>
                      <a:pt x="14" y="59"/>
                    </a:cubicBezTo>
                    <a:cubicBezTo>
                      <a:pt x="14" y="61"/>
                      <a:pt x="15" y="62"/>
                      <a:pt x="15" y="63"/>
                    </a:cubicBezTo>
                    <a:cubicBezTo>
                      <a:pt x="14" y="64"/>
                      <a:pt x="14" y="65"/>
                      <a:pt x="13" y="66"/>
                    </a:cubicBezTo>
                    <a:cubicBezTo>
                      <a:pt x="11" y="68"/>
                      <a:pt x="9" y="69"/>
                      <a:pt x="7" y="69"/>
                    </a:cubicBezTo>
                    <a:cubicBezTo>
                      <a:pt x="4" y="69"/>
                      <a:pt x="2" y="70"/>
                      <a:pt x="0" y="70"/>
                    </a:cubicBezTo>
                    <a:close/>
                    <a:moveTo>
                      <a:pt x="0" y="53"/>
                    </a:moveTo>
                    <a:cubicBezTo>
                      <a:pt x="0" y="39"/>
                      <a:pt x="0" y="39"/>
                      <a:pt x="0" y="39"/>
                    </a:cubicBezTo>
                    <a:cubicBezTo>
                      <a:pt x="1" y="39"/>
                      <a:pt x="1" y="39"/>
                      <a:pt x="2" y="39"/>
                    </a:cubicBezTo>
                    <a:cubicBezTo>
                      <a:pt x="4" y="39"/>
                      <a:pt x="5" y="40"/>
                      <a:pt x="7" y="40"/>
                    </a:cubicBezTo>
                    <a:cubicBezTo>
                      <a:pt x="8" y="42"/>
                      <a:pt x="10" y="43"/>
                      <a:pt x="12" y="45"/>
                    </a:cubicBezTo>
                    <a:cubicBezTo>
                      <a:pt x="14" y="45"/>
                      <a:pt x="16" y="46"/>
                      <a:pt x="21" y="45"/>
                    </a:cubicBezTo>
                    <a:cubicBezTo>
                      <a:pt x="25" y="42"/>
                      <a:pt x="29" y="36"/>
                      <a:pt x="33" y="33"/>
                    </a:cubicBezTo>
                    <a:cubicBezTo>
                      <a:pt x="33" y="32"/>
                      <a:pt x="33" y="31"/>
                      <a:pt x="33" y="29"/>
                    </a:cubicBezTo>
                    <a:cubicBezTo>
                      <a:pt x="34" y="29"/>
                      <a:pt x="35" y="29"/>
                      <a:pt x="37" y="29"/>
                    </a:cubicBezTo>
                    <a:cubicBezTo>
                      <a:pt x="37" y="30"/>
                      <a:pt x="38" y="30"/>
                      <a:pt x="38" y="31"/>
                    </a:cubicBezTo>
                    <a:cubicBezTo>
                      <a:pt x="40" y="32"/>
                      <a:pt x="44" y="34"/>
                      <a:pt x="48" y="36"/>
                    </a:cubicBezTo>
                    <a:cubicBezTo>
                      <a:pt x="49" y="36"/>
                      <a:pt x="50" y="36"/>
                      <a:pt x="51" y="36"/>
                    </a:cubicBezTo>
                    <a:cubicBezTo>
                      <a:pt x="53" y="35"/>
                      <a:pt x="55" y="34"/>
                      <a:pt x="58" y="33"/>
                    </a:cubicBezTo>
                    <a:cubicBezTo>
                      <a:pt x="61" y="30"/>
                      <a:pt x="63" y="29"/>
                      <a:pt x="68" y="26"/>
                    </a:cubicBezTo>
                    <a:cubicBezTo>
                      <a:pt x="68" y="25"/>
                      <a:pt x="69" y="25"/>
                      <a:pt x="70" y="24"/>
                    </a:cubicBezTo>
                    <a:cubicBezTo>
                      <a:pt x="73" y="20"/>
                      <a:pt x="75" y="19"/>
                      <a:pt x="80" y="18"/>
                    </a:cubicBezTo>
                    <a:cubicBezTo>
                      <a:pt x="82" y="18"/>
                      <a:pt x="84" y="18"/>
                      <a:pt x="87" y="18"/>
                    </a:cubicBezTo>
                    <a:cubicBezTo>
                      <a:pt x="93" y="15"/>
                      <a:pt x="94" y="12"/>
                      <a:pt x="101" y="12"/>
                    </a:cubicBezTo>
                    <a:cubicBezTo>
                      <a:pt x="102" y="14"/>
                      <a:pt x="103" y="16"/>
                      <a:pt x="105" y="18"/>
                    </a:cubicBezTo>
                    <a:cubicBezTo>
                      <a:pt x="106" y="19"/>
                      <a:pt x="107" y="20"/>
                      <a:pt x="108" y="21"/>
                    </a:cubicBezTo>
                    <a:cubicBezTo>
                      <a:pt x="106" y="24"/>
                      <a:pt x="104" y="27"/>
                      <a:pt x="102" y="32"/>
                    </a:cubicBezTo>
                    <a:cubicBezTo>
                      <a:pt x="102" y="33"/>
                      <a:pt x="102" y="35"/>
                      <a:pt x="102" y="36"/>
                    </a:cubicBezTo>
                    <a:cubicBezTo>
                      <a:pt x="103" y="37"/>
                      <a:pt x="105" y="37"/>
                      <a:pt x="108" y="37"/>
                    </a:cubicBezTo>
                    <a:cubicBezTo>
                      <a:pt x="108" y="39"/>
                      <a:pt x="109" y="40"/>
                      <a:pt x="109" y="42"/>
                    </a:cubicBezTo>
                    <a:cubicBezTo>
                      <a:pt x="110" y="43"/>
                      <a:pt x="110" y="43"/>
                      <a:pt x="111" y="44"/>
                    </a:cubicBezTo>
                    <a:cubicBezTo>
                      <a:pt x="113" y="44"/>
                      <a:pt x="116" y="43"/>
                      <a:pt x="119" y="43"/>
                    </a:cubicBezTo>
                    <a:cubicBezTo>
                      <a:pt x="121" y="45"/>
                      <a:pt x="121" y="49"/>
                      <a:pt x="121" y="54"/>
                    </a:cubicBezTo>
                    <a:cubicBezTo>
                      <a:pt x="121" y="55"/>
                      <a:pt x="120" y="56"/>
                      <a:pt x="118" y="57"/>
                    </a:cubicBezTo>
                    <a:cubicBezTo>
                      <a:pt x="118" y="58"/>
                      <a:pt x="116" y="58"/>
                      <a:pt x="115" y="58"/>
                    </a:cubicBezTo>
                    <a:cubicBezTo>
                      <a:pt x="115" y="61"/>
                      <a:pt x="115" y="64"/>
                      <a:pt x="114" y="66"/>
                    </a:cubicBezTo>
                    <a:cubicBezTo>
                      <a:pt x="114" y="68"/>
                      <a:pt x="113" y="69"/>
                      <a:pt x="112" y="71"/>
                    </a:cubicBezTo>
                    <a:cubicBezTo>
                      <a:pt x="111" y="71"/>
                      <a:pt x="109" y="72"/>
                      <a:pt x="109" y="74"/>
                    </a:cubicBezTo>
                    <a:cubicBezTo>
                      <a:pt x="105" y="74"/>
                      <a:pt x="102" y="83"/>
                      <a:pt x="99" y="85"/>
                    </a:cubicBezTo>
                    <a:cubicBezTo>
                      <a:pt x="99" y="86"/>
                      <a:pt x="96" y="87"/>
                      <a:pt x="96" y="87"/>
                    </a:cubicBezTo>
                    <a:cubicBezTo>
                      <a:pt x="94" y="89"/>
                      <a:pt x="91" y="91"/>
                      <a:pt x="90" y="92"/>
                    </a:cubicBezTo>
                    <a:cubicBezTo>
                      <a:pt x="90" y="93"/>
                      <a:pt x="90" y="93"/>
                      <a:pt x="90" y="93"/>
                    </a:cubicBezTo>
                    <a:cubicBezTo>
                      <a:pt x="89" y="93"/>
                      <a:pt x="89" y="93"/>
                      <a:pt x="89" y="93"/>
                    </a:cubicBezTo>
                    <a:cubicBezTo>
                      <a:pt x="89" y="94"/>
                      <a:pt x="89" y="94"/>
                      <a:pt x="89" y="94"/>
                    </a:cubicBezTo>
                    <a:cubicBezTo>
                      <a:pt x="87" y="94"/>
                      <a:pt x="85" y="97"/>
                      <a:pt x="84" y="99"/>
                    </a:cubicBezTo>
                    <a:cubicBezTo>
                      <a:pt x="83" y="101"/>
                      <a:pt x="82" y="103"/>
                      <a:pt x="81" y="105"/>
                    </a:cubicBezTo>
                    <a:cubicBezTo>
                      <a:pt x="77" y="106"/>
                      <a:pt x="75" y="107"/>
                      <a:pt x="73" y="109"/>
                    </a:cubicBezTo>
                    <a:cubicBezTo>
                      <a:pt x="71" y="109"/>
                      <a:pt x="71" y="109"/>
                      <a:pt x="70" y="109"/>
                    </a:cubicBezTo>
                    <a:cubicBezTo>
                      <a:pt x="70" y="108"/>
                      <a:pt x="70" y="107"/>
                      <a:pt x="70" y="106"/>
                    </a:cubicBezTo>
                    <a:cubicBezTo>
                      <a:pt x="69" y="106"/>
                      <a:pt x="69" y="105"/>
                      <a:pt x="68" y="105"/>
                    </a:cubicBezTo>
                    <a:cubicBezTo>
                      <a:pt x="66" y="105"/>
                      <a:pt x="66" y="104"/>
                      <a:pt x="65" y="104"/>
                    </a:cubicBezTo>
                    <a:cubicBezTo>
                      <a:pt x="64" y="100"/>
                      <a:pt x="62" y="100"/>
                      <a:pt x="60" y="101"/>
                    </a:cubicBezTo>
                    <a:cubicBezTo>
                      <a:pt x="59" y="103"/>
                      <a:pt x="59" y="104"/>
                      <a:pt x="59" y="105"/>
                    </a:cubicBezTo>
                    <a:cubicBezTo>
                      <a:pt x="55" y="106"/>
                      <a:pt x="51" y="106"/>
                      <a:pt x="47" y="106"/>
                    </a:cubicBezTo>
                    <a:cubicBezTo>
                      <a:pt x="45" y="106"/>
                      <a:pt x="42" y="105"/>
                      <a:pt x="39" y="105"/>
                    </a:cubicBezTo>
                    <a:cubicBezTo>
                      <a:pt x="37" y="104"/>
                      <a:pt x="36" y="104"/>
                      <a:pt x="34" y="104"/>
                    </a:cubicBezTo>
                    <a:cubicBezTo>
                      <a:pt x="32" y="102"/>
                      <a:pt x="31" y="101"/>
                      <a:pt x="29" y="99"/>
                    </a:cubicBezTo>
                    <a:cubicBezTo>
                      <a:pt x="29" y="97"/>
                      <a:pt x="28" y="96"/>
                      <a:pt x="27" y="95"/>
                    </a:cubicBezTo>
                    <a:cubicBezTo>
                      <a:pt x="27" y="95"/>
                      <a:pt x="27" y="95"/>
                      <a:pt x="27" y="95"/>
                    </a:cubicBezTo>
                    <a:cubicBezTo>
                      <a:pt x="25" y="91"/>
                      <a:pt x="27" y="90"/>
                      <a:pt x="28" y="87"/>
                    </a:cubicBezTo>
                    <a:cubicBezTo>
                      <a:pt x="28" y="86"/>
                      <a:pt x="28" y="84"/>
                      <a:pt x="28" y="83"/>
                    </a:cubicBezTo>
                    <a:cubicBezTo>
                      <a:pt x="27" y="82"/>
                      <a:pt x="25" y="81"/>
                      <a:pt x="24" y="80"/>
                    </a:cubicBezTo>
                    <a:cubicBezTo>
                      <a:pt x="24" y="79"/>
                      <a:pt x="24" y="79"/>
                      <a:pt x="24" y="79"/>
                    </a:cubicBezTo>
                    <a:cubicBezTo>
                      <a:pt x="17" y="79"/>
                      <a:pt x="13" y="79"/>
                      <a:pt x="9" y="78"/>
                    </a:cubicBezTo>
                    <a:cubicBezTo>
                      <a:pt x="8" y="78"/>
                      <a:pt x="7" y="77"/>
                      <a:pt x="5" y="77"/>
                    </a:cubicBezTo>
                    <a:cubicBezTo>
                      <a:pt x="5" y="74"/>
                      <a:pt x="4" y="73"/>
                      <a:pt x="4" y="71"/>
                    </a:cubicBezTo>
                    <a:cubicBezTo>
                      <a:pt x="5" y="71"/>
                      <a:pt x="7" y="71"/>
                      <a:pt x="9" y="71"/>
                    </a:cubicBezTo>
                    <a:cubicBezTo>
                      <a:pt x="11" y="71"/>
                      <a:pt x="13" y="68"/>
                      <a:pt x="15" y="67"/>
                    </a:cubicBezTo>
                    <a:cubicBezTo>
                      <a:pt x="17" y="63"/>
                      <a:pt x="17" y="60"/>
                      <a:pt x="15" y="58"/>
                    </a:cubicBezTo>
                    <a:cubicBezTo>
                      <a:pt x="14" y="58"/>
                      <a:pt x="12" y="58"/>
                      <a:pt x="11" y="58"/>
                    </a:cubicBezTo>
                    <a:cubicBezTo>
                      <a:pt x="7" y="55"/>
                      <a:pt x="4" y="54"/>
                      <a:pt x="0" y="53"/>
                    </a:cubicBezTo>
                    <a:close/>
                    <a:moveTo>
                      <a:pt x="89" y="131"/>
                    </a:moveTo>
                    <a:cubicBezTo>
                      <a:pt x="85" y="128"/>
                      <a:pt x="85" y="126"/>
                      <a:pt x="84" y="124"/>
                    </a:cubicBezTo>
                    <a:cubicBezTo>
                      <a:pt x="83" y="120"/>
                      <a:pt x="81" y="118"/>
                      <a:pt x="80" y="116"/>
                    </a:cubicBezTo>
                    <a:cubicBezTo>
                      <a:pt x="80" y="111"/>
                      <a:pt x="80" y="112"/>
                      <a:pt x="83" y="109"/>
                    </a:cubicBezTo>
                    <a:cubicBezTo>
                      <a:pt x="84" y="101"/>
                      <a:pt x="84" y="100"/>
                      <a:pt x="91" y="94"/>
                    </a:cubicBezTo>
                    <a:cubicBezTo>
                      <a:pt x="95" y="91"/>
                      <a:pt x="98" y="88"/>
                      <a:pt x="102" y="85"/>
                    </a:cubicBezTo>
                    <a:cubicBezTo>
                      <a:pt x="105" y="81"/>
                      <a:pt x="108" y="78"/>
                      <a:pt x="112" y="73"/>
                    </a:cubicBezTo>
                    <a:cubicBezTo>
                      <a:pt x="115" y="71"/>
                      <a:pt x="115" y="69"/>
                      <a:pt x="116" y="66"/>
                    </a:cubicBezTo>
                    <a:cubicBezTo>
                      <a:pt x="116" y="58"/>
                      <a:pt x="119" y="60"/>
                      <a:pt x="123" y="55"/>
                    </a:cubicBezTo>
                    <a:cubicBezTo>
                      <a:pt x="123" y="52"/>
                      <a:pt x="123" y="47"/>
                      <a:pt x="123" y="44"/>
                    </a:cubicBezTo>
                    <a:cubicBezTo>
                      <a:pt x="125" y="42"/>
                      <a:pt x="125" y="39"/>
                      <a:pt x="126" y="37"/>
                    </a:cubicBezTo>
                    <a:cubicBezTo>
                      <a:pt x="126" y="35"/>
                      <a:pt x="127" y="34"/>
                      <a:pt x="128" y="33"/>
                    </a:cubicBezTo>
                    <a:cubicBezTo>
                      <a:pt x="129" y="33"/>
                      <a:pt x="130" y="33"/>
                      <a:pt x="131" y="33"/>
                    </a:cubicBezTo>
                    <a:cubicBezTo>
                      <a:pt x="133" y="34"/>
                      <a:pt x="135" y="36"/>
                      <a:pt x="137" y="38"/>
                    </a:cubicBezTo>
                    <a:cubicBezTo>
                      <a:pt x="138" y="38"/>
                      <a:pt x="139" y="38"/>
                      <a:pt x="140" y="38"/>
                    </a:cubicBezTo>
                    <a:cubicBezTo>
                      <a:pt x="143" y="36"/>
                      <a:pt x="143" y="33"/>
                      <a:pt x="143" y="32"/>
                    </a:cubicBezTo>
                    <a:cubicBezTo>
                      <a:pt x="142" y="31"/>
                      <a:pt x="139" y="29"/>
                      <a:pt x="138" y="27"/>
                    </a:cubicBezTo>
                    <a:cubicBezTo>
                      <a:pt x="139" y="27"/>
                      <a:pt x="139" y="27"/>
                      <a:pt x="139" y="27"/>
                    </a:cubicBezTo>
                    <a:cubicBezTo>
                      <a:pt x="146" y="27"/>
                      <a:pt x="151" y="27"/>
                      <a:pt x="156" y="27"/>
                    </a:cubicBezTo>
                    <a:cubicBezTo>
                      <a:pt x="158" y="29"/>
                      <a:pt x="164" y="29"/>
                      <a:pt x="168" y="25"/>
                    </a:cubicBezTo>
                    <a:cubicBezTo>
                      <a:pt x="169" y="25"/>
                      <a:pt x="169" y="25"/>
                      <a:pt x="170" y="25"/>
                    </a:cubicBezTo>
                    <a:cubicBezTo>
                      <a:pt x="170" y="27"/>
                      <a:pt x="170" y="29"/>
                      <a:pt x="170" y="30"/>
                    </a:cubicBezTo>
                    <a:cubicBezTo>
                      <a:pt x="168" y="32"/>
                      <a:pt x="164" y="35"/>
                      <a:pt x="162" y="38"/>
                    </a:cubicBezTo>
                    <a:cubicBezTo>
                      <a:pt x="162" y="42"/>
                      <a:pt x="163" y="43"/>
                      <a:pt x="171" y="43"/>
                    </a:cubicBezTo>
                    <a:cubicBezTo>
                      <a:pt x="174" y="41"/>
                      <a:pt x="177" y="40"/>
                      <a:pt x="181" y="39"/>
                    </a:cubicBezTo>
                    <a:cubicBezTo>
                      <a:pt x="182" y="39"/>
                      <a:pt x="183" y="39"/>
                      <a:pt x="184" y="39"/>
                    </a:cubicBezTo>
                    <a:cubicBezTo>
                      <a:pt x="184" y="39"/>
                      <a:pt x="185" y="40"/>
                      <a:pt x="186" y="40"/>
                    </a:cubicBezTo>
                    <a:cubicBezTo>
                      <a:pt x="192" y="40"/>
                      <a:pt x="195" y="33"/>
                      <a:pt x="203" y="36"/>
                    </a:cubicBezTo>
                    <a:cubicBezTo>
                      <a:pt x="205" y="38"/>
                      <a:pt x="206" y="40"/>
                      <a:pt x="208" y="42"/>
                    </a:cubicBezTo>
                    <a:cubicBezTo>
                      <a:pt x="210" y="45"/>
                      <a:pt x="213" y="48"/>
                      <a:pt x="216" y="53"/>
                    </a:cubicBezTo>
                    <a:cubicBezTo>
                      <a:pt x="216" y="54"/>
                      <a:pt x="216" y="54"/>
                      <a:pt x="216" y="55"/>
                    </a:cubicBezTo>
                    <a:cubicBezTo>
                      <a:pt x="212" y="55"/>
                      <a:pt x="212" y="56"/>
                      <a:pt x="210" y="57"/>
                    </a:cubicBezTo>
                    <a:cubicBezTo>
                      <a:pt x="208" y="59"/>
                      <a:pt x="203" y="60"/>
                      <a:pt x="206" y="65"/>
                    </a:cubicBezTo>
                    <a:cubicBezTo>
                      <a:pt x="206" y="65"/>
                      <a:pt x="206" y="65"/>
                      <a:pt x="206" y="66"/>
                    </a:cubicBezTo>
                    <a:cubicBezTo>
                      <a:pt x="201" y="68"/>
                      <a:pt x="195" y="72"/>
                      <a:pt x="189" y="76"/>
                    </a:cubicBezTo>
                    <a:cubicBezTo>
                      <a:pt x="189" y="76"/>
                      <a:pt x="188" y="77"/>
                      <a:pt x="187" y="78"/>
                    </a:cubicBezTo>
                    <a:cubicBezTo>
                      <a:pt x="185" y="78"/>
                      <a:pt x="184" y="77"/>
                      <a:pt x="184" y="77"/>
                    </a:cubicBezTo>
                    <a:cubicBezTo>
                      <a:pt x="183" y="77"/>
                      <a:pt x="182" y="77"/>
                      <a:pt x="181" y="77"/>
                    </a:cubicBezTo>
                    <a:cubicBezTo>
                      <a:pt x="180" y="77"/>
                      <a:pt x="179" y="78"/>
                      <a:pt x="179" y="79"/>
                    </a:cubicBezTo>
                    <a:cubicBezTo>
                      <a:pt x="178" y="79"/>
                      <a:pt x="177" y="79"/>
                      <a:pt x="177" y="79"/>
                    </a:cubicBezTo>
                    <a:cubicBezTo>
                      <a:pt x="174" y="76"/>
                      <a:pt x="173" y="77"/>
                      <a:pt x="171" y="77"/>
                    </a:cubicBezTo>
                    <a:cubicBezTo>
                      <a:pt x="171" y="79"/>
                      <a:pt x="171" y="80"/>
                      <a:pt x="171" y="82"/>
                    </a:cubicBezTo>
                    <a:cubicBezTo>
                      <a:pt x="169" y="84"/>
                      <a:pt x="167" y="81"/>
                      <a:pt x="165" y="86"/>
                    </a:cubicBezTo>
                    <a:cubicBezTo>
                      <a:pt x="161" y="86"/>
                      <a:pt x="162" y="85"/>
                      <a:pt x="161" y="83"/>
                    </a:cubicBezTo>
                    <a:cubicBezTo>
                      <a:pt x="160" y="83"/>
                      <a:pt x="160" y="83"/>
                      <a:pt x="160" y="83"/>
                    </a:cubicBezTo>
                    <a:cubicBezTo>
                      <a:pt x="158" y="81"/>
                      <a:pt x="157" y="80"/>
                      <a:pt x="155" y="79"/>
                    </a:cubicBezTo>
                    <a:cubicBezTo>
                      <a:pt x="155" y="79"/>
                      <a:pt x="154" y="79"/>
                      <a:pt x="153" y="79"/>
                    </a:cubicBezTo>
                    <a:cubicBezTo>
                      <a:pt x="152" y="81"/>
                      <a:pt x="152" y="81"/>
                      <a:pt x="151" y="83"/>
                    </a:cubicBezTo>
                    <a:cubicBezTo>
                      <a:pt x="150" y="85"/>
                      <a:pt x="148" y="87"/>
                      <a:pt x="147" y="89"/>
                    </a:cubicBezTo>
                    <a:cubicBezTo>
                      <a:pt x="143" y="91"/>
                      <a:pt x="143" y="91"/>
                      <a:pt x="140" y="94"/>
                    </a:cubicBezTo>
                    <a:cubicBezTo>
                      <a:pt x="139" y="94"/>
                      <a:pt x="138" y="95"/>
                      <a:pt x="136" y="95"/>
                    </a:cubicBezTo>
                    <a:cubicBezTo>
                      <a:pt x="135" y="96"/>
                      <a:pt x="134" y="97"/>
                      <a:pt x="133" y="99"/>
                    </a:cubicBezTo>
                    <a:cubicBezTo>
                      <a:pt x="128" y="99"/>
                      <a:pt x="127" y="99"/>
                      <a:pt x="125" y="101"/>
                    </a:cubicBezTo>
                    <a:cubicBezTo>
                      <a:pt x="125" y="101"/>
                      <a:pt x="125" y="102"/>
                      <a:pt x="124" y="103"/>
                    </a:cubicBezTo>
                    <a:cubicBezTo>
                      <a:pt x="124" y="103"/>
                      <a:pt x="123" y="103"/>
                      <a:pt x="122" y="103"/>
                    </a:cubicBezTo>
                    <a:cubicBezTo>
                      <a:pt x="118" y="101"/>
                      <a:pt x="118" y="102"/>
                      <a:pt x="114" y="103"/>
                    </a:cubicBezTo>
                    <a:cubicBezTo>
                      <a:pt x="110" y="104"/>
                      <a:pt x="107" y="105"/>
                      <a:pt x="104" y="106"/>
                    </a:cubicBezTo>
                    <a:cubicBezTo>
                      <a:pt x="99" y="107"/>
                      <a:pt x="97" y="107"/>
                      <a:pt x="94" y="110"/>
                    </a:cubicBezTo>
                    <a:cubicBezTo>
                      <a:pt x="94" y="112"/>
                      <a:pt x="93" y="113"/>
                      <a:pt x="93" y="114"/>
                    </a:cubicBezTo>
                    <a:cubicBezTo>
                      <a:pt x="89" y="116"/>
                      <a:pt x="88" y="116"/>
                      <a:pt x="88" y="120"/>
                    </a:cubicBezTo>
                    <a:cubicBezTo>
                      <a:pt x="90" y="122"/>
                      <a:pt x="95" y="125"/>
                      <a:pt x="95" y="129"/>
                    </a:cubicBezTo>
                    <a:cubicBezTo>
                      <a:pt x="93" y="130"/>
                      <a:pt x="90" y="131"/>
                      <a:pt x="89" y="131"/>
                    </a:cubicBezTo>
                    <a:close/>
                    <a:moveTo>
                      <a:pt x="283" y="82"/>
                    </a:moveTo>
                    <a:cubicBezTo>
                      <a:pt x="281" y="79"/>
                      <a:pt x="280" y="77"/>
                      <a:pt x="278" y="74"/>
                    </a:cubicBezTo>
                    <a:cubicBezTo>
                      <a:pt x="277" y="73"/>
                      <a:pt x="276" y="73"/>
                      <a:pt x="275" y="73"/>
                    </a:cubicBezTo>
                    <a:cubicBezTo>
                      <a:pt x="274" y="69"/>
                      <a:pt x="272" y="66"/>
                      <a:pt x="271" y="65"/>
                    </a:cubicBezTo>
                    <a:cubicBezTo>
                      <a:pt x="270" y="64"/>
                      <a:pt x="270" y="63"/>
                      <a:pt x="270" y="61"/>
                    </a:cubicBezTo>
                    <a:cubicBezTo>
                      <a:pt x="271" y="58"/>
                      <a:pt x="272" y="55"/>
                      <a:pt x="272" y="52"/>
                    </a:cubicBezTo>
                    <a:cubicBezTo>
                      <a:pt x="270" y="44"/>
                      <a:pt x="273" y="43"/>
                      <a:pt x="276" y="39"/>
                    </a:cubicBezTo>
                    <a:cubicBezTo>
                      <a:pt x="276" y="37"/>
                      <a:pt x="276" y="35"/>
                      <a:pt x="277" y="33"/>
                    </a:cubicBezTo>
                    <a:cubicBezTo>
                      <a:pt x="279" y="26"/>
                      <a:pt x="280" y="23"/>
                      <a:pt x="284" y="19"/>
                    </a:cubicBezTo>
                    <a:cubicBezTo>
                      <a:pt x="286" y="17"/>
                      <a:pt x="288" y="16"/>
                      <a:pt x="291" y="14"/>
                    </a:cubicBezTo>
                    <a:cubicBezTo>
                      <a:pt x="293" y="14"/>
                      <a:pt x="294" y="14"/>
                      <a:pt x="296" y="14"/>
                    </a:cubicBezTo>
                    <a:cubicBezTo>
                      <a:pt x="296" y="15"/>
                      <a:pt x="298" y="19"/>
                      <a:pt x="297" y="21"/>
                    </a:cubicBezTo>
                    <a:cubicBezTo>
                      <a:pt x="294" y="26"/>
                      <a:pt x="296" y="36"/>
                      <a:pt x="296" y="44"/>
                    </a:cubicBezTo>
                    <a:cubicBezTo>
                      <a:pt x="294" y="49"/>
                      <a:pt x="291" y="56"/>
                      <a:pt x="287" y="61"/>
                    </a:cubicBezTo>
                    <a:cubicBezTo>
                      <a:pt x="287" y="62"/>
                      <a:pt x="287" y="63"/>
                      <a:pt x="286" y="64"/>
                    </a:cubicBezTo>
                    <a:cubicBezTo>
                      <a:pt x="286" y="69"/>
                      <a:pt x="285" y="76"/>
                      <a:pt x="285" y="81"/>
                    </a:cubicBezTo>
                    <a:cubicBezTo>
                      <a:pt x="284" y="81"/>
                      <a:pt x="283" y="82"/>
                      <a:pt x="283" y="8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70000"/>
                </a:schemeClr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8" name="Freeform 72">
                <a:extLst>
                  <a:ext uri="{FF2B5EF4-FFF2-40B4-BE49-F238E27FC236}">
                    <a16:creationId xmlns:a16="http://schemas.microsoft.com/office/drawing/2014/main" id="{39DC0C21-A0CC-4D6C-85B4-D902267A37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6608" y="4416902"/>
                <a:ext cx="717550" cy="1173162"/>
              </a:xfrm>
              <a:custGeom>
                <a:avLst/>
                <a:gdLst>
                  <a:gd name="T0" fmla="*/ 2147483646 w 273"/>
                  <a:gd name="T1" fmla="*/ 2147483646 h 447"/>
                  <a:gd name="T2" fmla="*/ 2147483646 w 273"/>
                  <a:gd name="T3" fmla="*/ 2147483646 h 447"/>
                  <a:gd name="T4" fmla="*/ 2147483646 w 273"/>
                  <a:gd name="T5" fmla="*/ 2147483646 h 447"/>
                  <a:gd name="T6" fmla="*/ 2147483646 w 273"/>
                  <a:gd name="T7" fmla="*/ 2147483646 h 447"/>
                  <a:gd name="T8" fmla="*/ 2147483646 w 273"/>
                  <a:gd name="T9" fmla="*/ 0 h 4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3"/>
                  <a:gd name="T16" fmla="*/ 0 h 447"/>
                  <a:gd name="T17" fmla="*/ 273 w 273"/>
                  <a:gd name="T18" fmla="*/ 447 h 4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3" h="447">
                    <a:moveTo>
                      <a:pt x="25" y="168"/>
                    </a:moveTo>
                    <a:cubicBezTo>
                      <a:pt x="85" y="287"/>
                      <a:pt x="11" y="300"/>
                      <a:pt x="5" y="359"/>
                    </a:cubicBezTo>
                    <a:cubicBezTo>
                      <a:pt x="0" y="380"/>
                      <a:pt x="15" y="447"/>
                      <a:pt x="110" y="415"/>
                    </a:cubicBezTo>
                    <a:cubicBezTo>
                      <a:pt x="237" y="320"/>
                      <a:pt x="208" y="234"/>
                      <a:pt x="218" y="147"/>
                    </a:cubicBezTo>
                    <a:cubicBezTo>
                      <a:pt x="233" y="68"/>
                      <a:pt x="273" y="78"/>
                      <a:pt x="262" y="0"/>
                    </a:cubicBezTo>
                  </a:path>
                </a:pathLst>
              </a:custGeom>
              <a:noFill/>
              <a:ln w="7">
                <a:solidFill>
                  <a:schemeClr val="bg1">
                    <a:lumMod val="65000"/>
                  </a:scheme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14" name="Freeform 183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600146" y="1378971"/>
              <a:ext cx="1149812" cy="1102812"/>
            </a:xfrm>
            <a:custGeom>
              <a:avLst/>
              <a:gdLst>
                <a:gd name="T0" fmla="*/ 366 w 366"/>
                <a:gd name="T1" fmla="*/ 169 h 351"/>
                <a:gd name="T2" fmla="*/ 360 w 366"/>
                <a:gd name="T3" fmla="*/ 217 h 351"/>
                <a:gd name="T4" fmla="*/ 351 w 366"/>
                <a:gd name="T5" fmla="*/ 272 h 351"/>
                <a:gd name="T6" fmla="*/ 311 w 366"/>
                <a:gd name="T7" fmla="*/ 285 h 351"/>
                <a:gd name="T8" fmla="*/ 306 w 366"/>
                <a:gd name="T9" fmla="*/ 300 h 351"/>
                <a:gd name="T10" fmla="*/ 320 w 366"/>
                <a:gd name="T11" fmla="*/ 339 h 351"/>
                <a:gd name="T12" fmla="*/ 297 w 366"/>
                <a:gd name="T13" fmla="*/ 338 h 351"/>
                <a:gd name="T14" fmla="*/ 271 w 366"/>
                <a:gd name="T15" fmla="*/ 343 h 351"/>
                <a:gd name="T16" fmla="*/ 246 w 366"/>
                <a:gd name="T17" fmla="*/ 335 h 351"/>
                <a:gd name="T18" fmla="*/ 222 w 366"/>
                <a:gd name="T19" fmla="*/ 315 h 351"/>
                <a:gd name="T20" fmla="*/ 196 w 366"/>
                <a:gd name="T21" fmla="*/ 313 h 351"/>
                <a:gd name="T22" fmla="*/ 149 w 366"/>
                <a:gd name="T23" fmla="*/ 298 h 351"/>
                <a:gd name="T24" fmla="*/ 116 w 366"/>
                <a:gd name="T25" fmla="*/ 284 h 351"/>
                <a:gd name="T26" fmla="*/ 87 w 366"/>
                <a:gd name="T27" fmla="*/ 281 h 351"/>
                <a:gd name="T28" fmla="*/ 99 w 366"/>
                <a:gd name="T29" fmla="*/ 259 h 351"/>
                <a:gd name="T30" fmla="*/ 75 w 366"/>
                <a:gd name="T31" fmla="*/ 253 h 351"/>
                <a:gd name="T32" fmla="*/ 92 w 366"/>
                <a:gd name="T33" fmla="*/ 195 h 351"/>
                <a:gd name="T34" fmla="*/ 105 w 366"/>
                <a:gd name="T35" fmla="*/ 163 h 351"/>
                <a:gd name="T36" fmla="*/ 112 w 366"/>
                <a:gd name="T37" fmla="*/ 127 h 351"/>
                <a:gd name="T38" fmla="*/ 98 w 366"/>
                <a:gd name="T39" fmla="*/ 66 h 351"/>
                <a:gd name="T40" fmla="*/ 67 w 366"/>
                <a:gd name="T41" fmla="*/ 86 h 351"/>
                <a:gd name="T42" fmla="*/ 41 w 366"/>
                <a:gd name="T43" fmla="*/ 55 h 351"/>
                <a:gd name="T44" fmla="*/ 19 w 366"/>
                <a:gd name="T45" fmla="*/ 52 h 351"/>
                <a:gd name="T46" fmla="*/ 10 w 366"/>
                <a:gd name="T47" fmla="*/ 31 h 351"/>
                <a:gd name="T48" fmla="*/ 3 w 366"/>
                <a:gd name="T49" fmla="*/ 14 h 351"/>
                <a:gd name="T50" fmla="*/ 37 w 366"/>
                <a:gd name="T51" fmla="*/ 2 h 351"/>
                <a:gd name="T52" fmla="*/ 74 w 366"/>
                <a:gd name="T53" fmla="*/ 10 h 351"/>
                <a:gd name="T54" fmla="*/ 114 w 366"/>
                <a:gd name="T55" fmla="*/ 29 h 351"/>
                <a:gd name="T56" fmla="*/ 158 w 366"/>
                <a:gd name="T57" fmla="*/ 97 h 351"/>
                <a:gd name="T58" fmla="*/ 222 w 366"/>
                <a:gd name="T59" fmla="*/ 131 h 351"/>
                <a:gd name="T60" fmla="*/ 254 w 366"/>
                <a:gd name="T61" fmla="*/ 141 h 351"/>
                <a:gd name="T62" fmla="*/ 262 w 366"/>
                <a:gd name="T63" fmla="*/ 162 h 351"/>
                <a:gd name="T64" fmla="*/ 274 w 366"/>
                <a:gd name="T65" fmla="*/ 184 h 351"/>
                <a:gd name="T66" fmla="*/ 343 w 366"/>
                <a:gd name="T67" fmla="*/ 141 h 351"/>
                <a:gd name="T68" fmla="*/ 359 w 366"/>
                <a:gd name="T69" fmla="*/ 1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6" h="351">
                  <a:moveTo>
                    <a:pt x="366" y="157"/>
                  </a:moveTo>
                  <a:cubicBezTo>
                    <a:pt x="366" y="159"/>
                    <a:pt x="366" y="166"/>
                    <a:pt x="366" y="169"/>
                  </a:cubicBezTo>
                  <a:cubicBezTo>
                    <a:pt x="364" y="173"/>
                    <a:pt x="357" y="174"/>
                    <a:pt x="356" y="177"/>
                  </a:cubicBezTo>
                  <a:cubicBezTo>
                    <a:pt x="356" y="180"/>
                    <a:pt x="360" y="211"/>
                    <a:pt x="360" y="217"/>
                  </a:cubicBezTo>
                  <a:cubicBezTo>
                    <a:pt x="360" y="223"/>
                    <a:pt x="355" y="264"/>
                    <a:pt x="355" y="266"/>
                  </a:cubicBezTo>
                  <a:cubicBezTo>
                    <a:pt x="355" y="267"/>
                    <a:pt x="353" y="269"/>
                    <a:pt x="351" y="272"/>
                  </a:cubicBezTo>
                  <a:cubicBezTo>
                    <a:pt x="349" y="275"/>
                    <a:pt x="322" y="268"/>
                    <a:pt x="318" y="269"/>
                  </a:cubicBezTo>
                  <a:cubicBezTo>
                    <a:pt x="314" y="270"/>
                    <a:pt x="313" y="283"/>
                    <a:pt x="311" y="285"/>
                  </a:cubicBezTo>
                  <a:cubicBezTo>
                    <a:pt x="309" y="287"/>
                    <a:pt x="302" y="287"/>
                    <a:pt x="301" y="290"/>
                  </a:cubicBezTo>
                  <a:cubicBezTo>
                    <a:pt x="300" y="294"/>
                    <a:pt x="304" y="295"/>
                    <a:pt x="306" y="300"/>
                  </a:cubicBezTo>
                  <a:cubicBezTo>
                    <a:pt x="310" y="305"/>
                    <a:pt x="318" y="331"/>
                    <a:pt x="320" y="338"/>
                  </a:cubicBezTo>
                  <a:cubicBezTo>
                    <a:pt x="320" y="339"/>
                    <a:pt x="320" y="339"/>
                    <a:pt x="320" y="339"/>
                  </a:cubicBezTo>
                  <a:cubicBezTo>
                    <a:pt x="313" y="341"/>
                    <a:pt x="313" y="341"/>
                    <a:pt x="313" y="341"/>
                  </a:cubicBezTo>
                  <a:cubicBezTo>
                    <a:pt x="313" y="341"/>
                    <a:pt x="299" y="342"/>
                    <a:pt x="297" y="338"/>
                  </a:cubicBezTo>
                  <a:cubicBezTo>
                    <a:pt x="294" y="334"/>
                    <a:pt x="291" y="329"/>
                    <a:pt x="285" y="330"/>
                  </a:cubicBezTo>
                  <a:cubicBezTo>
                    <a:pt x="279" y="331"/>
                    <a:pt x="275" y="341"/>
                    <a:pt x="271" y="343"/>
                  </a:cubicBezTo>
                  <a:cubicBezTo>
                    <a:pt x="268" y="344"/>
                    <a:pt x="264" y="349"/>
                    <a:pt x="260" y="350"/>
                  </a:cubicBezTo>
                  <a:cubicBezTo>
                    <a:pt x="256" y="351"/>
                    <a:pt x="249" y="343"/>
                    <a:pt x="246" y="335"/>
                  </a:cubicBezTo>
                  <a:cubicBezTo>
                    <a:pt x="243" y="328"/>
                    <a:pt x="243" y="315"/>
                    <a:pt x="241" y="315"/>
                  </a:cubicBezTo>
                  <a:cubicBezTo>
                    <a:pt x="239" y="315"/>
                    <a:pt x="222" y="311"/>
                    <a:pt x="222" y="315"/>
                  </a:cubicBezTo>
                  <a:cubicBezTo>
                    <a:pt x="222" y="318"/>
                    <a:pt x="226" y="337"/>
                    <a:pt x="221" y="338"/>
                  </a:cubicBezTo>
                  <a:cubicBezTo>
                    <a:pt x="215" y="339"/>
                    <a:pt x="196" y="319"/>
                    <a:pt x="196" y="313"/>
                  </a:cubicBezTo>
                  <a:cubicBezTo>
                    <a:pt x="196" y="306"/>
                    <a:pt x="189" y="301"/>
                    <a:pt x="184" y="301"/>
                  </a:cubicBezTo>
                  <a:cubicBezTo>
                    <a:pt x="179" y="300"/>
                    <a:pt x="155" y="295"/>
                    <a:pt x="149" y="298"/>
                  </a:cubicBezTo>
                  <a:cubicBezTo>
                    <a:pt x="144" y="301"/>
                    <a:pt x="125" y="301"/>
                    <a:pt x="122" y="299"/>
                  </a:cubicBezTo>
                  <a:cubicBezTo>
                    <a:pt x="119" y="297"/>
                    <a:pt x="120" y="284"/>
                    <a:pt x="116" y="284"/>
                  </a:cubicBezTo>
                  <a:cubicBezTo>
                    <a:pt x="112" y="284"/>
                    <a:pt x="111" y="283"/>
                    <a:pt x="106" y="284"/>
                  </a:cubicBezTo>
                  <a:cubicBezTo>
                    <a:pt x="101" y="285"/>
                    <a:pt x="92" y="282"/>
                    <a:pt x="87" y="281"/>
                  </a:cubicBezTo>
                  <a:cubicBezTo>
                    <a:pt x="81" y="279"/>
                    <a:pt x="80" y="275"/>
                    <a:pt x="81" y="273"/>
                  </a:cubicBezTo>
                  <a:cubicBezTo>
                    <a:pt x="82" y="271"/>
                    <a:pt x="99" y="263"/>
                    <a:pt x="99" y="259"/>
                  </a:cubicBezTo>
                  <a:cubicBezTo>
                    <a:pt x="99" y="255"/>
                    <a:pt x="90" y="249"/>
                    <a:pt x="87" y="247"/>
                  </a:cubicBezTo>
                  <a:cubicBezTo>
                    <a:pt x="83" y="246"/>
                    <a:pt x="80" y="255"/>
                    <a:pt x="75" y="253"/>
                  </a:cubicBezTo>
                  <a:cubicBezTo>
                    <a:pt x="71" y="251"/>
                    <a:pt x="60" y="241"/>
                    <a:pt x="61" y="235"/>
                  </a:cubicBezTo>
                  <a:cubicBezTo>
                    <a:pt x="61" y="229"/>
                    <a:pt x="89" y="198"/>
                    <a:pt x="92" y="195"/>
                  </a:cubicBezTo>
                  <a:cubicBezTo>
                    <a:pt x="95" y="193"/>
                    <a:pt x="105" y="201"/>
                    <a:pt x="108" y="201"/>
                  </a:cubicBezTo>
                  <a:cubicBezTo>
                    <a:pt x="111" y="201"/>
                    <a:pt x="105" y="168"/>
                    <a:pt x="105" y="163"/>
                  </a:cubicBezTo>
                  <a:cubicBezTo>
                    <a:pt x="105" y="159"/>
                    <a:pt x="119" y="163"/>
                    <a:pt x="120" y="157"/>
                  </a:cubicBezTo>
                  <a:cubicBezTo>
                    <a:pt x="121" y="151"/>
                    <a:pt x="112" y="137"/>
                    <a:pt x="112" y="127"/>
                  </a:cubicBezTo>
                  <a:cubicBezTo>
                    <a:pt x="112" y="117"/>
                    <a:pt x="125" y="92"/>
                    <a:pt x="125" y="87"/>
                  </a:cubicBezTo>
                  <a:cubicBezTo>
                    <a:pt x="125" y="83"/>
                    <a:pt x="101" y="65"/>
                    <a:pt x="98" y="66"/>
                  </a:cubicBezTo>
                  <a:cubicBezTo>
                    <a:pt x="95" y="67"/>
                    <a:pt x="95" y="73"/>
                    <a:pt x="92" y="77"/>
                  </a:cubicBezTo>
                  <a:cubicBezTo>
                    <a:pt x="89" y="80"/>
                    <a:pt x="72" y="85"/>
                    <a:pt x="67" y="86"/>
                  </a:cubicBezTo>
                  <a:cubicBezTo>
                    <a:pt x="63" y="87"/>
                    <a:pt x="55" y="85"/>
                    <a:pt x="49" y="83"/>
                  </a:cubicBezTo>
                  <a:cubicBezTo>
                    <a:pt x="43" y="82"/>
                    <a:pt x="43" y="57"/>
                    <a:pt x="41" y="55"/>
                  </a:cubicBezTo>
                  <a:cubicBezTo>
                    <a:pt x="39" y="53"/>
                    <a:pt x="33" y="45"/>
                    <a:pt x="29" y="42"/>
                  </a:cubicBezTo>
                  <a:cubicBezTo>
                    <a:pt x="24" y="39"/>
                    <a:pt x="21" y="55"/>
                    <a:pt x="19" y="52"/>
                  </a:cubicBezTo>
                  <a:cubicBezTo>
                    <a:pt x="17" y="49"/>
                    <a:pt x="0" y="43"/>
                    <a:pt x="3" y="43"/>
                  </a:cubicBezTo>
                  <a:cubicBezTo>
                    <a:pt x="5" y="42"/>
                    <a:pt x="7" y="34"/>
                    <a:pt x="10" y="31"/>
                  </a:cubicBezTo>
                  <a:cubicBezTo>
                    <a:pt x="13" y="27"/>
                    <a:pt x="12" y="20"/>
                    <a:pt x="7" y="17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8" y="12"/>
                    <a:pt x="14" y="10"/>
                    <a:pt x="16" y="9"/>
                  </a:cubicBezTo>
                  <a:cubicBezTo>
                    <a:pt x="22" y="9"/>
                    <a:pt x="34" y="4"/>
                    <a:pt x="37" y="2"/>
                  </a:cubicBezTo>
                  <a:cubicBezTo>
                    <a:pt x="40" y="0"/>
                    <a:pt x="48" y="1"/>
                    <a:pt x="56" y="2"/>
                  </a:cubicBezTo>
                  <a:cubicBezTo>
                    <a:pt x="63" y="3"/>
                    <a:pt x="67" y="9"/>
                    <a:pt x="74" y="10"/>
                  </a:cubicBezTo>
                  <a:cubicBezTo>
                    <a:pt x="81" y="12"/>
                    <a:pt x="90" y="9"/>
                    <a:pt x="96" y="12"/>
                  </a:cubicBezTo>
                  <a:cubicBezTo>
                    <a:pt x="102" y="14"/>
                    <a:pt x="108" y="21"/>
                    <a:pt x="114" y="29"/>
                  </a:cubicBezTo>
                  <a:cubicBezTo>
                    <a:pt x="120" y="36"/>
                    <a:pt x="130" y="54"/>
                    <a:pt x="136" y="62"/>
                  </a:cubicBezTo>
                  <a:cubicBezTo>
                    <a:pt x="141" y="71"/>
                    <a:pt x="154" y="91"/>
                    <a:pt x="158" y="97"/>
                  </a:cubicBezTo>
                  <a:cubicBezTo>
                    <a:pt x="162" y="103"/>
                    <a:pt x="172" y="127"/>
                    <a:pt x="180" y="130"/>
                  </a:cubicBezTo>
                  <a:cubicBezTo>
                    <a:pt x="188" y="133"/>
                    <a:pt x="218" y="130"/>
                    <a:pt x="222" y="131"/>
                  </a:cubicBezTo>
                  <a:cubicBezTo>
                    <a:pt x="227" y="132"/>
                    <a:pt x="234" y="139"/>
                    <a:pt x="240" y="143"/>
                  </a:cubicBezTo>
                  <a:cubicBezTo>
                    <a:pt x="246" y="146"/>
                    <a:pt x="250" y="140"/>
                    <a:pt x="254" y="141"/>
                  </a:cubicBezTo>
                  <a:cubicBezTo>
                    <a:pt x="256" y="143"/>
                    <a:pt x="253" y="150"/>
                    <a:pt x="253" y="152"/>
                  </a:cubicBezTo>
                  <a:cubicBezTo>
                    <a:pt x="253" y="154"/>
                    <a:pt x="259" y="157"/>
                    <a:pt x="262" y="162"/>
                  </a:cubicBezTo>
                  <a:cubicBezTo>
                    <a:pt x="266" y="167"/>
                    <a:pt x="260" y="168"/>
                    <a:pt x="262" y="172"/>
                  </a:cubicBezTo>
                  <a:cubicBezTo>
                    <a:pt x="264" y="177"/>
                    <a:pt x="268" y="182"/>
                    <a:pt x="274" y="184"/>
                  </a:cubicBezTo>
                  <a:cubicBezTo>
                    <a:pt x="280" y="186"/>
                    <a:pt x="307" y="175"/>
                    <a:pt x="312" y="172"/>
                  </a:cubicBezTo>
                  <a:cubicBezTo>
                    <a:pt x="317" y="170"/>
                    <a:pt x="340" y="146"/>
                    <a:pt x="343" y="141"/>
                  </a:cubicBezTo>
                  <a:cubicBezTo>
                    <a:pt x="346" y="136"/>
                    <a:pt x="356" y="137"/>
                    <a:pt x="358" y="139"/>
                  </a:cubicBezTo>
                  <a:cubicBezTo>
                    <a:pt x="360" y="142"/>
                    <a:pt x="359" y="148"/>
                    <a:pt x="359" y="151"/>
                  </a:cubicBezTo>
                  <a:cubicBezTo>
                    <a:pt x="359" y="154"/>
                    <a:pt x="366" y="155"/>
                    <a:pt x="366" y="157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15" name="Freeform 18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4746219" y="2262474"/>
              <a:ext cx="866012" cy="603623"/>
            </a:xfrm>
            <a:custGeom>
              <a:avLst/>
              <a:gdLst>
                <a:gd name="T0" fmla="*/ 274 w 276"/>
                <a:gd name="T1" fmla="*/ 58 h 192"/>
                <a:gd name="T2" fmla="*/ 274 w 276"/>
                <a:gd name="T3" fmla="*/ 84 h 192"/>
                <a:gd name="T4" fmla="*/ 262 w 276"/>
                <a:gd name="T5" fmla="*/ 95 h 192"/>
                <a:gd name="T6" fmla="*/ 253 w 276"/>
                <a:gd name="T7" fmla="*/ 87 h 192"/>
                <a:gd name="T8" fmla="*/ 242 w 276"/>
                <a:gd name="T9" fmla="*/ 86 h 192"/>
                <a:gd name="T10" fmla="*/ 242 w 276"/>
                <a:gd name="T11" fmla="*/ 109 h 192"/>
                <a:gd name="T12" fmla="*/ 224 w 276"/>
                <a:gd name="T13" fmla="*/ 128 h 192"/>
                <a:gd name="T14" fmla="*/ 202 w 276"/>
                <a:gd name="T15" fmla="*/ 134 h 192"/>
                <a:gd name="T16" fmla="*/ 210 w 276"/>
                <a:gd name="T17" fmla="*/ 147 h 192"/>
                <a:gd name="T18" fmla="*/ 208 w 276"/>
                <a:gd name="T19" fmla="*/ 157 h 192"/>
                <a:gd name="T20" fmla="*/ 186 w 276"/>
                <a:gd name="T21" fmla="*/ 158 h 192"/>
                <a:gd name="T22" fmla="*/ 174 w 276"/>
                <a:gd name="T23" fmla="*/ 152 h 192"/>
                <a:gd name="T24" fmla="*/ 167 w 276"/>
                <a:gd name="T25" fmla="*/ 149 h 192"/>
                <a:gd name="T26" fmla="*/ 160 w 276"/>
                <a:gd name="T27" fmla="*/ 166 h 192"/>
                <a:gd name="T28" fmla="*/ 154 w 276"/>
                <a:gd name="T29" fmla="*/ 184 h 192"/>
                <a:gd name="T30" fmla="*/ 145 w 276"/>
                <a:gd name="T31" fmla="*/ 192 h 192"/>
                <a:gd name="T32" fmla="*/ 139 w 276"/>
                <a:gd name="T33" fmla="*/ 184 h 192"/>
                <a:gd name="T34" fmla="*/ 124 w 276"/>
                <a:gd name="T35" fmla="*/ 158 h 192"/>
                <a:gd name="T36" fmla="*/ 123 w 276"/>
                <a:gd name="T37" fmla="*/ 142 h 192"/>
                <a:gd name="T38" fmla="*/ 102 w 276"/>
                <a:gd name="T39" fmla="*/ 110 h 192"/>
                <a:gd name="T40" fmla="*/ 71 w 276"/>
                <a:gd name="T41" fmla="*/ 102 h 192"/>
                <a:gd name="T42" fmla="*/ 47 w 276"/>
                <a:gd name="T43" fmla="*/ 64 h 192"/>
                <a:gd name="T44" fmla="*/ 26 w 276"/>
                <a:gd name="T45" fmla="*/ 76 h 192"/>
                <a:gd name="T46" fmla="*/ 18 w 276"/>
                <a:gd name="T47" fmla="*/ 43 h 192"/>
                <a:gd name="T48" fmla="*/ 1 w 276"/>
                <a:gd name="T49" fmla="*/ 27 h 192"/>
                <a:gd name="T50" fmla="*/ 4 w 276"/>
                <a:gd name="T51" fmla="*/ 10 h 192"/>
                <a:gd name="T52" fmla="*/ 34 w 276"/>
                <a:gd name="T53" fmla="*/ 20 h 192"/>
                <a:gd name="T54" fmla="*/ 37 w 276"/>
                <a:gd name="T55" fmla="*/ 10 h 192"/>
                <a:gd name="T56" fmla="*/ 41 w 276"/>
                <a:gd name="T57" fmla="*/ 0 h 192"/>
                <a:gd name="T58" fmla="*/ 60 w 276"/>
                <a:gd name="T59" fmla="*/ 3 h 192"/>
                <a:gd name="T60" fmla="*/ 70 w 276"/>
                <a:gd name="T61" fmla="*/ 3 h 192"/>
                <a:gd name="T62" fmla="*/ 76 w 276"/>
                <a:gd name="T63" fmla="*/ 18 h 192"/>
                <a:gd name="T64" fmla="*/ 103 w 276"/>
                <a:gd name="T65" fmla="*/ 17 h 192"/>
                <a:gd name="T66" fmla="*/ 138 w 276"/>
                <a:gd name="T67" fmla="*/ 20 h 192"/>
                <a:gd name="T68" fmla="*/ 150 w 276"/>
                <a:gd name="T69" fmla="*/ 32 h 192"/>
                <a:gd name="T70" fmla="*/ 175 w 276"/>
                <a:gd name="T71" fmla="*/ 57 h 192"/>
                <a:gd name="T72" fmla="*/ 176 w 276"/>
                <a:gd name="T73" fmla="*/ 34 h 192"/>
                <a:gd name="T74" fmla="*/ 195 w 276"/>
                <a:gd name="T75" fmla="*/ 34 h 192"/>
                <a:gd name="T76" fmla="*/ 200 w 276"/>
                <a:gd name="T77" fmla="*/ 54 h 192"/>
                <a:gd name="T78" fmla="*/ 214 w 276"/>
                <a:gd name="T79" fmla="*/ 69 h 192"/>
                <a:gd name="T80" fmla="*/ 225 w 276"/>
                <a:gd name="T81" fmla="*/ 62 h 192"/>
                <a:gd name="T82" fmla="*/ 239 w 276"/>
                <a:gd name="T83" fmla="*/ 49 h 192"/>
                <a:gd name="T84" fmla="*/ 251 w 276"/>
                <a:gd name="T85" fmla="*/ 57 h 192"/>
                <a:gd name="T86" fmla="*/ 267 w 276"/>
                <a:gd name="T87" fmla="*/ 60 h 192"/>
                <a:gd name="T88" fmla="*/ 274 w 276"/>
                <a:gd name="T89" fmla="*/ 5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6" h="192">
                  <a:moveTo>
                    <a:pt x="274" y="58"/>
                  </a:moveTo>
                  <a:cubicBezTo>
                    <a:pt x="276" y="66"/>
                    <a:pt x="275" y="80"/>
                    <a:pt x="274" y="84"/>
                  </a:cubicBezTo>
                  <a:cubicBezTo>
                    <a:pt x="272" y="87"/>
                    <a:pt x="264" y="94"/>
                    <a:pt x="262" y="95"/>
                  </a:cubicBezTo>
                  <a:cubicBezTo>
                    <a:pt x="260" y="97"/>
                    <a:pt x="256" y="87"/>
                    <a:pt x="253" y="87"/>
                  </a:cubicBezTo>
                  <a:cubicBezTo>
                    <a:pt x="250" y="87"/>
                    <a:pt x="242" y="84"/>
                    <a:pt x="242" y="86"/>
                  </a:cubicBezTo>
                  <a:cubicBezTo>
                    <a:pt x="240" y="87"/>
                    <a:pt x="242" y="106"/>
                    <a:pt x="242" y="109"/>
                  </a:cubicBezTo>
                  <a:cubicBezTo>
                    <a:pt x="240" y="112"/>
                    <a:pt x="227" y="126"/>
                    <a:pt x="224" y="128"/>
                  </a:cubicBezTo>
                  <a:cubicBezTo>
                    <a:pt x="221" y="131"/>
                    <a:pt x="205" y="132"/>
                    <a:pt x="202" y="134"/>
                  </a:cubicBezTo>
                  <a:cubicBezTo>
                    <a:pt x="199" y="137"/>
                    <a:pt x="210" y="144"/>
                    <a:pt x="210" y="147"/>
                  </a:cubicBezTo>
                  <a:cubicBezTo>
                    <a:pt x="210" y="149"/>
                    <a:pt x="210" y="155"/>
                    <a:pt x="208" y="157"/>
                  </a:cubicBezTo>
                  <a:cubicBezTo>
                    <a:pt x="205" y="160"/>
                    <a:pt x="193" y="158"/>
                    <a:pt x="186" y="158"/>
                  </a:cubicBezTo>
                  <a:cubicBezTo>
                    <a:pt x="179" y="158"/>
                    <a:pt x="174" y="156"/>
                    <a:pt x="174" y="152"/>
                  </a:cubicBezTo>
                  <a:cubicBezTo>
                    <a:pt x="174" y="148"/>
                    <a:pt x="171" y="148"/>
                    <a:pt x="167" y="149"/>
                  </a:cubicBezTo>
                  <a:cubicBezTo>
                    <a:pt x="163" y="150"/>
                    <a:pt x="160" y="161"/>
                    <a:pt x="160" y="166"/>
                  </a:cubicBezTo>
                  <a:cubicBezTo>
                    <a:pt x="160" y="170"/>
                    <a:pt x="156" y="179"/>
                    <a:pt x="154" y="184"/>
                  </a:cubicBezTo>
                  <a:cubicBezTo>
                    <a:pt x="153" y="186"/>
                    <a:pt x="149" y="189"/>
                    <a:pt x="145" y="192"/>
                  </a:cubicBezTo>
                  <a:cubicBezTo>
                    <a:pt x="139" y="184"/>
                    <a:pt x="139" y="184"/>
                    <a:pt x="139" y="184"/>
                  </a:cubicBezTo>
                  <a:cubicBezTo>
                    <a:pt x="139" y="184"/>
                    <a:pt x="126" y="162"/>
                    <a:pt x="124" y="158"/>
                  </a:cubicBezTo>
                  <a:cubicBezTo>
                    <a:pt x="122" y="153"/>
                    <a:pt x="126" y="148"/>
                    <a:pt x="123" y="142"/>
                  </a:cubicBezTo>
                  <a:cubicBezTo>
                    <a:pt x="121" y="136"/>
                    <a:pt x="107" y="114"/>
                    <a:pt x="102" y="110"/>
                  </a:cubicBezTo>
                  <a:cubicBezTo>
                    <a:pt x="97" y="106"/>
                    <a:pt x="77" y="105"/>
                    <a:pt x="71" y="102"/>
                  </a:cubicBezTo>
                  <a:cubicBezTo>
                    <a:pt x="64" y="100"/>
                    <a:pt x="51" y="66"/>
                    <a:pt x="47" y="64"/>
                  </a:cubicBezTo>
                  <a:cubicBezTo>
                    <a:pt x="43" y="61"/>
                    <a:pt x="30" y="76"/>
                    <a:pt x="26" y="76"/>
                  </a:cubicBezTo>
                  <a:cubicBezTo>
                    <a:pt x="22" y="76"/>
                    <a:pt x="18" y="48"/>
                    <a:pt x="18" y="43"/>
                  </a:cubicBezTo>
                  <a:cubicBezTo>
                    <a:pt x="18" y="38"/>
                    <a:pt x="0" y="30"/>
                    <a:pt x="1" y="27"/>
                  </a:cubicBezTo>
                  <a:cubicBezTo>
                    <a:pt x="3" y="24"/>
                    <a:pt x="0" y="8"/>
                    <a:pt x="4" y="10"/>
                  </a:cubicBezTo>
                  <a:cubicBezTo>
                    <a:pt x="8" y="11"/>
                    <a:pt x="32" y="22"/>
                    <a:pt x="34" y="20"/>
                  </a:cubicBezTo>
                  <a:cubicBezTo>
                    <a:pt x="36" y="17"/>
                    <a:pt x="36" y="12"/>
                    <a:pt x="37" y="1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6" y="1"/>
                    <a:pt x="55" y="4"/>
                    <a:pt x="60" y="3"/>
                  </a:cubicBezTo>
                  <a:cubicBezTo>
                    <a:pt x="65" y="2"/>
                    <a:pt x="66" y="3"/>
                    <a:pt x="70" y="3"/>
                  </a:cubicBezTo>
                  <a:cubicBezTo>
                    <a:pt x="74" y="3"/>
                    <a:pt x="73" y="16"/>
                    <a:pt x="76" y="18"/>
                  </a:cubicBezTo>
                  <a:cubicBezTo>
                    <a:pt x="79" y="20"/>
                    <a:pt x="98" y="20"/>
                    <a:pt x="103" y="17"/>
                  </a:cubicBezTo>
                  <a:cubicBezTo>
                    <a:pt x="109" y="14"/>
                    <a:pt x="133" y="19"/>
                    <a:pt x="138" y="20"/>
                  </a:cubicBezTo>
                  <a:cubicBezTo>
                    <a:pt x="143" y="20"/>
                    <a:pt x="150" y="25"/>
                    <a:pt x="150" y="32"/>
                  </a:cubicBezTo>
                  <a:cubicBezTo>
                    <a:pt x="150" y="38"/>
                    <a:pt x="169" y="58"/>
                    <a:pt x="175" y="57"/>
                  </a:cubicBezTo>
                  <a:cubicBezTo>
                    <a:pt x="180" y="56"/>
                    <a:pt x="176" y="37"/>
                    <a:pt x="176" y="34"/>
                  </a:cubicBezTo>
                  <a:cubicBezTo>
                    <a:pt x="176" y="30"/>
                    <a:pt x="193" y="34"/>
                    <a:pt x="195" y="34"/>
                  </a:cubicBezTo>
                  <a:cubicBezTo>
                    <a:pt x="197" y="34"/>
                    <a:pt x="197" y="47"/>
                    <a:pt x="200" y="54"/>
                  </a:cubicBezTo>
                  <a:cubicBezTo>
                    <a:pt x="203" y="62"/>
                    <a:pt x="210" y="70"/>
                    <a:pt x="214" y="69"/>
                  </a:cubicBezTo>
                  <a:cubicBezTo>
                    <a:pt x="218" y="68"/>
                    <a:pt x="222" y="63"/>
                    <a:pt x="225" y="62"/>
                  </a:cubicBezTo>
                  <a:cubicBezTo>
                    <a:pt x="229" y="60"/>
                    <a:pt x="233" y="50"/>
                    <a:pt x="239" y="49"/>
                  </a:cubicBezTo>
                  <a:cubicBezTo>
                    <a:pt x="245" y="48"/>
                    <a:pt x="248" y="53"/>
                    <a:pt x="251" y="57"/>
                  </a:cubicBezTo>
                  <a:cubicBezTo>
                    <a:pt x="253" y="61"/>
                    <a:pt x="267" y="60"/>
                    <a:pt x="267" y="60"/>
                  </a:cubicBezTo>
                  <a:lnTo>
                    <a:pt x="274" y="58"/>
                  </a:ln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16" name="Freeform 18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585538" y="2582040"/>
              <a:ext cx="613512" cy="593179"/>
            </a:xfrm>
            <a:custGeom>
              <a:avLst/>
              <a:gdLst>
                <a:gd name="T0" fmla="*/ 190 w 196"/>
                <a:gd name="T1" fmla="*/ 82 h 189"/>
                <a:gd name="T2" fmla="*/ 196 w 196"/>
                <a:gd name="T3" fmla="*/ 90 h 189"/>
                <a:gd name="T4" fmla="*/ 185 w 196"/>
                <a:gd name="T5" fmla="*/ 97 h 189"/>
                <a:gd name="T6" fmla="*/ 166 w 196"/>
                <a:gd name="T7" fmla="*/ 117 h 189"/>
                <a:gd name="T8" fmla="*/ 159 w 196"/>
                <a:gd name="T9" fmla="*/ 133 h 189"/>
                <a:gd name="T10" fmla="*/ 136 w 196"/>
                <a:gd name="T11" fmla="*/ 138 h 189"/>
                <a:gd name="T12" fmla="*/ 111 w 196"/>
                <a:gd name="T13" fmla="*/ 154 h 189"/>
                <a:gd name="T14" fmla="*/ 95 w 196"/>
                <a:gd name="T15" fmla="*/ 174 h 189"/>
                <a:gd name="T16" fmla="*/ 75 w 196"/>
                <a:gd name="T17" fmla="*/ 189 h 189"/>
                <a:gd name="T18" fmla="*/ 71 w 196"/>
                <a:gd name="T19" fmla="*/ 180 h 189"/>
                <a:gd name="T20" fmla="*/ 90 w 196"/>
                <a:gd name="T21" fmla="*/ 163 h 189"/>
                <a:gd name="T22" fmla="*/ 89 w 196"/>
                <a:gd name="T23" fmla="*/ 158 h 189"/>
                <a:gd name="T24" fmla="*/ 79 w 196"/>
                <a:gd name="T25" fmla="*/ 159 h 189"/>
                <a:gd name="T26" fmla="*/ 77 w 196"/>
                <a:gd name="T27" fmla="*/ 145 h 189"/>
                <a:gd name="T28" fmla="*/ 88 w 196"/>
                <a:gd name="T29" fmla="*/ 138 h 189"/>
                <a:gd name="T30" fmla="*/ 97 w 196"/>
                <a:gd name="T31" fmla="*/ 116 h 189"/>
                <a:gd name="T32" fmla="*/ 87 w 196"/>
                <a:gd name="T33" fmla="*/ 106 h 189"/>
                <a:gd name="T34" fmla="*/ 63 w 196"/>
                <a:gd name="T35" fmla="*/ 105 h 189"/>
                <a:gd name="T36" fmla="*/ 49 w 196"/>
                <a:gd name="T37" fmla="*/ 128 h 189"/>
                <a:gd name="T38" fmla="*/ 34 w 196"/>
                <a:gd name="T39" fmla="*/ 141 h 189"/>
                <a:gd name="T40" fmla="*/ 30 w 196"/>
                <a:gd name="T41" fmla="*/ 143 h 189"/>
                <a:gd name="T42" fmla="*/ 26 w 196"/>
                <a:gd name="T43" fmla="*/ 137 h 189"/>
                <a:gd name="T44" fmla="*/ 19 w 196"/>
                <a:gd name="T45" fmla="*/ 126 h 189"/>
                <a:gd name="T46" fmla="*/ 4 w 196"/>
                <a:gd name="T47" fmla="*/ 119 h 189"/>
                <a:gd name="T48" fmla="*/ 1 w 196"/>
                <a:gd name="T49" fmla="*/ 104 h 189"/>
                <a:gd name="T50" fmla="*/ 0 w 196"/>
                <a:gd name="T51" fmla="*/ 96 h 189"/>
                <a:gd name="T52" fmla="*/ 8 w 196"/>
                <a:gd name="T53" fmla="*/ 94 h 189"/>
                <a:gd name="T54" fmla="*/ 3 w 196"/>
                <a:gd name="T55" fmla="*/ 59 h 189"/>
                <a:gd name="T56" fmla="*/ 14 w 196"/>
                <a:gd name="T57" fmla="*/ 53 h 189"/>
                <a:gd name="T58" fmla="*/ 32 w 196"/>
                <a:gd name="T59" fmla="*/ 74 h 189"/>
                <a:gd name="T60" fmla="*/ 52 w 196"/>
                <a:gd name="T61" fmla="*/ 51 h 189"/>
                <a:gd name="T62" fmla="*/ 81 w 196"/>
                <a:gd name="T63" fmla="*/ 37 h 189"/>
                <a:gd name="T64" fmla="*/ 88 w 196"/>
                <a:gd name="T65" fmla="*/ 22 h 189"/>
                <a:gd name="T66" fmla="*/ 107 w 196"/>
                <a:gd name="T67" fmla="*/ 25 h 189"/>
                <a:gd name="T68" fmla="*/ 120 w 196"/>
                <a:gd name="T69" fmla="*/ 12 h 189"/>
                <a:gd name="T70" fmla="*/ 122 w 196"/>
                <a:gd name="T71" fmla="*/ 0 h 189"/>
                <a:gd name="T72" fmla="*/ 153 w 196"/>
                <a:gd name="T73" fmla="*/ 8 h 189"/>
                <a:gd name="T74" fmla="*/ 174 w 196"/>
                <a:gd name="T75" fmla="*/ 40 h 189"/>
                <a:gd name="T76" fmla="*/ 175 w 196"/>
                <a:gd name="T77" fmla="*/ 56 h 189"/>
                <a:gd name="T78" fmla="*/ 190 w 196"/>
                <a:gd name="T79" fmla="*/ 8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6" h="189">
                  <a:moveTo>
                    <a:pt x="190" y="82"/>
                  </a:moveTo>
                  <a:cubicBezTo>
                    <a:pt x="196" y="90"/>
                    <a:pt x="196" y="90"/>
                    <a:pt x="196" y="90"/>
                  </a:cubicBezTo>
                  <a:cubicBezTo>
                    <a:pt x="192" y="93"/>
                    <a:pt x="188" y="95"/>
                    <a:pt x="185" y="97"/>
                  </a:cubicBezTo>
                  <a:cubicBezTo>
                    <a:pt x="179" y="102"/>
                    <a:pt x="171" y="112"/>
                    <a:pt x="166" y="117"/>
                  </a:cubicBezTo>
                  <a:cubicBezTo>
                    <a:pt x="161" y="123"/>
                    <a:pt x="161" y="133"/>
                    <a:pt x="159" y="133"/>
                  </a:cubicBezTo>
                  <a:cubicBezTo>
                    <a:pt x="157" y="133"/>
                    <a:pt x="142" y="137"/>
                    <a:pt x="136" y="138"/>
                  </a:cubicBezTo>
                  <a:cubicBezTo>
                    <a:pt x="130" y="140"/>
                    <a:pt x="115" y="150"/>
                    <a:pt x="111" y="154"/>
                  </a:cubicBezTo>
                  <a:cubicBezTo>
                    <a:pt x="106" y="158"/>
                    <a:pt x="99" y="171"/>
                    <a:pt x="95" y="174"/>
                  </a:cubicBezTo>
                  <a:cubicBezTo>
                    <a:pt x="91" y="177"/>
                    <a:pt x="79" y="188"/>
                    <a:pt x="75" y="189"/>
                  </a:cubicBezTo>
                  <a:cubicBezTo>
                    <a:pt x="71" y="189"/>
                    <a:pt x="71" y="180"/>
                    <a:pt x="71" y="180"/>
                  </a:cubicBezTo>
                  <a:cubicBezTo>
                    <a:pt x="71" y="178"/>
                    <a:pt x="85" y="169"/>
                    <a:pt x="90" y="163"/>
                  </a:cubicBezTo>
                  <a:cubicBezTo>
                    <a:pt x="92" y="161"/>
                    <a:pt x="90" y="159"/>
                    <a:pt x="89" y="158"/>
                  </a:cubicBezTo>
                  <a:cubicBezTo>
                    <a:pt x="87" y="155"/>
                    <a:pt x="81" y="162"/>
                    <a:pt x="79" y="159"/>
                  </a:cubicBezTo>
                  <a:cubicBezTo>
                    <a:pt x="77" y="156"/>
                    <a:pt x="77" y="149"/>
                    <a:pt x="77" y="145"/>
                  </a:cubicBezTo>
                  <a:cubicBezTo>
                    <a:pt x="77" y="141"/>
                    <a:pt x="85" y="139"/>
                    <a:pt x="88" y="138"/>
                  </a:cubicBezTo>
                  <a:cubicBezTo>
                    <a:pt x="91" y="137"/>
                    <a:pt x="96" y="120"/>
                    <a:pt x="97" y="116"/>
                  </a:cubicBezTo>
                  <a:cubicBezTo>
                    <a:pt x="99" y="113"/>
                    <a:pt x="91" y="108"/>
                    <a:pt x="87" y="106"/>
                  </a:cubicBezTo>
                  <a:cubicBezTo>
                    <a:pt x="83" y="103"/>
                    <a:pt x="67" y="104"/>
                    <a:pt x="63" y="105"/>
                  </a:cubicBezTo>
                  <a:cubicBezTo>
                    <a:pt x="59" y="106"/>
                    <a:pt x="51" y="123"/>
                    <a:pt x="49" y="128"/>
                  </a:cubicBezTo>
                  <a:cubicBezTo>
                    <a:pt x="48" y="133"/>
                    <a:pt x="39" y="138"/>
                    <a:pt x="34" y="141"/>
                  </a:cubicBezTo>
                  <a:cubicBezTo>
                    <a:pt x="33" y="141"/>
                    <a:pt x="32" y="142"/>
                    <a:pt x="30" y="143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6" y="137"/>
                    <a:pt x="22" y="130"/>
                    <a:pt x="19" y="126"/>
                  </a:cubicBezTo>
                  <a:cubicBezTo>
                    <a:pt x="16" y="122"/>
                    <a:pt x="8" y="121"/>
                    <a:pt x="4" y="119"/>
                  </a:cubicBezTo>
                  <a:cubicBezTo>
                    <a:pt x="0" y="117"/>
                    <a:pt x="0" y="110"/>
                    <a:pt x="1" y="104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4" y="95"/>
                    <a:pt x="6" y="95"/>
                    <a:pt x="8" y="94"/>
                  </a:cubicBezTo>
                  <a:cubicBezTo>
                    <a:pt x="12" y="92"/>
                    <a:pt x="4" y="65"/>
                    <a:pt x="3" y="59"/>
                  </a:cubicBezTo>
                  <a:cubicBezTo>
                    <a:pt x="2" y="53"/>
                    <a:pt x="10" y="54"/>
                    <a:pt x="14" y="53"/>
                  </a:cubicBezTo>
                  <a:cubicBezTo>
                    <a:pt x="17" y="52"/>
                    <a:pt x="30" y="75"/>
                    <a:pt x="32" y="74"/>
                  </a:cubicBezTo>
                  <a:cubicBezTo>
                    <a:pt x="34" y="72"/>
                    <a:pt x="48" y="54"/>
                    <a:pt x="52" y="51"/>
                  </a:cubicBezTo>
                  <a:cubicBezTo>
                    <a:pt x="55" y="48"/>
                    <a:pt x="78" y="37"/>
                    <a:pt x="81" y="37"/>
                  </a:cubicBezTo>
                  <a:cubicBezTo>
                    <a:pt x="84" y="37"/>
                    <a:pt x="83" y="24"/>
                    <a:pt x="88" y="22"/>
                  </a:cubicBezTo>
                  <a:cubicBezTo>
                    <a:pt x="92" y="20"/>
                    <a:pt x="101" y="28"/>
                    <a:pt x="107" y="25"/>
                  </a:cubicBezTo>
                  <a:cubicBezTo>
                    <a:pt x="113" y="22"/>
                    <a:pt x="118" y="15"/>
                    <a:pt x="120" y="12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8" y="3"/>
                    <a:pt x="148" y="4"/>
                    <a:pt x="153" y="8"/>
                  </a:cubicBezTo>
                  <a:cubicBezTo>
                    <a:pt x="158" y="12"/>
                    <a:pt x="172" y="34"/>
                    <a:pt x="174" y="40"/>
                  </a:cubicBezTo>
                  <a:cubicBezTo>
                    <a:pt x="177" y="46"/>
                    <a:pt x="173" y="51"/>
                    <a:pt x="175" y="56"/>
                  </a:cubicBezTo>
                  <a:cubicBezTo>
                    <a:pt x="177" y="60"/>
                    <a:pt x="190" y="82"/>
                    <a:pt x="190" y="82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17" name="Freeform 18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873513" y="4766777"/>
              <a:ext cx="212851" cy="442796"/>
            </a:xfrm>
            <a:custGeom>
              <a:avLst/>
              <a:gdLst>
                <a:gd name="T0" fmla="*/ 63 w 68"/>
                <a:gd name="T1" fmla="*/ 7 h 141"/>
                <a:gd name="T2" fmla="*/ 67 w 68"/>
                <a:gd name="T3" fmla="*/ 16 h 141"/>
                <a:gd name="T4" fmla="*/ 65 w 68"/>
                <a:gd name="T5" fmla="*/ 26 h 141"/>
                <a:gd name="T6" fmla="*/ 66 w 68"/>
                <a:gd name="T7" fmla="*/ 38 h 141"/>
                <a:gd name="T8" fmla="*/ 60 w 68"/>
                <a:gd name="T9" fmla="*/ 50 h 141"/>
                <a:gd name="T10" fmla="*/ 57 w 68"/>
                <a:gd name="T11" fmla="*/ 78 h 141"/>
                <a:gd name="T12" fmla="*/ 51 w 68"/>
                <a:gd name="T13" fmla="*/ 100 h 141"/>
                <a:gd name="T14" fmla="*/ 41 w 68"/>
                <a:gd name="T15" fmla="*/ 114 h 141"/>
                <a:gd name="T16" fmla="*/ 39 w 68"/>
                <a:gd name="T17" fmla="*/ 136 h 141"/>
                <a:gd name="T18" fmla="*/ 29 w 68"/>
                <a:gd name="T19" fmla="*/ 139 h 141"/>
                <a:gd name="T20" fmla="*/ 22 w 68"/>
                <a:gd name="T21" fmla="*/ 124 h 141"/>
                <a:gd name="T22" fmla="*/ 9 w 68"/>
                <a:gd name="T23" fmla="*/ 113 h 141"/>
                <a:gd name="T24" fmla="*/ 3 w 68"/>
                <a:gd name="T25" fmla="*/ 100 h 141"/>
                <a:gd name="T26" fmla="*/ 2 w 68"/>
                <a:gd name="T27" fmla="*/ 85 h 141"/>
                <a:gd name="T28" fmla="*/ 2 w 68"/>
                <a:gd name="T29" fmla="*/ 67 h 141"/>
                <a:gd name="T30" fmla="*/ 27 w 68"/>
                <a:gd name="T31" fmla="*/ 15 h 141"/>
                <a:gd name="T32" fmla="*/ 40 w 68"/>
                <a:gd name="T33" fmla="*/ 7 h 141"/>
                <a:gd name="T34" fmla="*/ 49 w 68"/>
                <a:gd name="T35" fmla="*/ 0 h 141"/>
                <a:gd name="T36" fmla="*/ 63 w 68"/>
                <a:gd name="T37" fmla="*/ 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141">
                  <a:moveTo>
                    <a:pt x="63" y="7"/>
                  </a:moveTo>
                  <a:cubicBezTo>
                    <a:pt x="66" y="7"/>
                    <a:pt x="67" y="12"/>
                    <a:pt x="67" y="16"/>
                  </a:cubicBezTo>
                  <a:cubicBezTo>
                    <a:pt x="67" y="19"/>
                    <a:pt x="65" y="23"/>
                    <a:pt x="65" y="26"/>
                  </a:cubicBezTo>
                  <a:cubicBezTo>
                    <a:pt x="66" y="30"/>
                    <a:pt x="68" y="33"/>
                    <a:pt x="66" y="38"/>
                  </a:cubicBezTo>
                  <a:cubicBezTo>
                    <a:pt x="64" y="42"/>
                    <a:pt x="60" y="46"/>
                    <a:pt x="60" y="50"/>
                  </a:cubicBezTo>
                  <a:cubicBezTo>
                    <a:pt x="60" y="55"/>
                    <a:pt x="58" y="74"/>
                    <a:pt x="57" y="78"/>
                  </a:cubicBezTo>
                  <a:cubicBezTo>
                    <a:pt x="56" y="83"/>
                    <a:pt x="54" y="95"/>
                    <a:pt x="51" y="100"/>
                  </a:cubicBezTo>
                  <a:cubicBezTo>
                    <a:pt x="48" y="106"/>
                    <a:pt x="43" y="109"/>
                    <a:pt x="41" y="114"/>
                  </a:cubicBezTo>
                  <a:cubicBezTo>
                    <a:pt x="39" y="120"/>
                    <a:pt x="39" y="133"/>
                    <a:pt x="39" y="136"/>
                  </a:cubicBezTo>
                  <a:cubicBezTo>
                    <a:pt x="39" y="139"/>
                    <a:pt x="37" y="141"/>
                    <a:pt x="29" y="139"/>
                  </a:cubicBezTo>
                  <a:cubicBezTo>
                    <a:pt x="21" y="137"/>
                    <a:pt x="26" y="129"/>
                    <a:pt x="22" y="124"/>
                  </a:cubicBezTo>
                  <a:cubicBezTo>
                    <a:pt x="18" y="119"/>
                    <a:pt x="11" y="118"/>
                    <a:pt x="9" y="113"/>
                  </a:cubicBezTo>
                  <a:cubicBezTo>
                    <a:pt x="8" y="109"/>
                    <a:pt x="6" y="105"/>
                    <a:pt x="3" y="100"/>
                  </a:cubicBezTo>
                  <a:cubicBezTo>
                    <a:pt x="0" y="95"/>
                    <a:pt x="2" y="91"/>
                    <a:pt x="2" y="85"/>
                  </a:cubicBezTo>
                  <a:cubicBezTo>
                    <a:pt x="3" y="79"/>
                    <a:pt x="2" y="67"/>
                    <a:pt x="2" y="67"/>
                  </a:cubicBezTo>
                  <a:cubicBezTo>
                    <a:pt x="5" y="57"/>
                    <a:pt x="24" y="19"/>
                    <a:pt x="27" y="15"/>
                  </a:cubicBezTo>
                  <a:cubicBezTo>
                    <a:pt x="30" y="11"/>
                    <a:pt x="37" y="11"/>
                    <a:pt x="40" y="7"/>
                  </a:cubicBezTo>
                  <a:cubicBezTo>
                    <a:pt x="44" y="2"/>
                    <a:pt x="45" y="0"/>
                    <a:pt x="49" y="0"/>
                  </a:cubicBezTo>
                  <a:cubicBezTo>
                    <a:pt x="53" y="0"/>
                    <a:pt x="60" y="7"/>
                    <a:pt x="63" y="7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18" name="Freeform 187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606406" y="4087964"/>
              <a:ext cx="465351" cy="476215"/>
            </a:xfrm>
            <a:custGeom>
              <a:avLst/>
              <a:gdLst>
                <a:gd name="T0" fmla="*/ 146 w 148"/>
                <a:gd name="T1" fmla="*/ 39 h 151"/>
                <a:gd name="T2" fmla="*/ 142 w 148"/>
                <a:gd name="T3" fmla="*/ 50 h 151"/>
                <a:gd name="T4" fmla="*/ 133 w 148"/>
                <a:gd name="T5" fmla="*/ 54 h 151"/>
                <a:gd name="T6" fmla="*/ 134 w 148"/>
                <a:gd name="T7" fmla="*/ 73 h 151"/>
                <a:gd name="T8" fmla="*/ 127 w 148"/>
                <a:gd name="T9" fmla="*/ 69 h 151"/>
                <a:gd name="T10" fmla="*/ 118 w 148"/>
                <a:gd name="T11" fmla="*/ 71 h 151"/>
                <a:gd name="T12" fmla="*/ 125 w 148"/>
                <a:gd name="T13" fmla="*/ 84 h 151"/>
                <a:gd name="T14" fmla="*/ 126 w 148"/>
                <a:gd name="T15" fmla="*/ 100 h 151"/>
                <a:gd name="T16" fmla="*/ 114 w 148"/>
                <a:gd name="T17" fmla="*/ 116 h 151"/>
                <a:gd name="T18" fmla="*/ 111 w 148"/>
                <a:gd name="T19" fmla="*/ 103 h 151"/>
                <a:gd name="T20" fmla="*/ 97 w 148"/>
                <a:gd name="T21" fmla="*/ 130 h 151"/>
                <a:gd name="T22" fmla="*/ 96 w 148"/>
                <a:gd name="T23" fmla="*/ 142 h 151"/>
                <a:gd name="T24" fmla="*/ 92 w 148"/>
                <a:gd name="T25" fmla="*/ 151 h 151"/>
                <a:gd name="T26" fmla="*/ 80 w 148"/>
                <a:gd name="T27" fmla="*/ 143 h 151"/>
                <a:gd name="T28" fmla="*/ 71 w 148"/>
                <a:gd name="T29" fmla="*/ 145 h 151"/>
                <a:gd name="T30" fmla="*/ 60 w 148"/>
                <a:gd name="T31" fmla="*/ 135 h 151"/>
                <a:gd name="T32" fmla="*/ 52 w 148"/>
                <a:gd name="T33" fmla="*/ 145 h 151"/>
                <a:gd name="T34" fmla="*/ 37 w 148"/>
                <a:gd name="T35" fmla="*/ 145 h 151"/>
                <a:gd name="T36" fmla="*/ 31 w 148"/>
                <a:gd name="T37" fmla="*/ 117 h 151"/>
                <a:gd name="T38" fmla="*/ 20 w 148"/>
                <a:gd name="T39" fmla="*/ 117 h 151"/>
                <a:gd name="T40" fmla="*/ 18 w 148"/>
                <a:gd name="T41" fmla="*/ 103 h 151"/>
                <a:gd name="T42" fmla="*/ 3 w 148"/>
                <a:gd name="T43" fmla="*/ 85 h 151"/>
                <a:gd name="T44" fmla="*/ 9 w 148"/>
                <a:gd name="T45" fmla="*/ 75 h 151"/>
                <a:gd name="T46" fmla="*/ 16 w 148"/>
                <a:gd name="T47" fmla="*/ 68 h 151"/>
                <a:gd name="T48" fmla="*/ 26 w 148"/>
                <a:gd name="T49" fmla="*/ 53 h 151"/>
                <a:gd name="T50" fmla="*/ 25 w 148"/>
                <a:gd name="T51" fmla="*/ 35 h 151"/>
                <a:gd name="T52" fmla="*/ 43 w 148"/>
                <a:gd name="T53" fmla="*/ 32 h 151"/>
                <a:gd name="T54" fmla="*/ 49 w 148"/>
                <a:gd name="T55" fmla="*/ 3 h 151"/>
                <a:gd name="T56" fmla="*/ 63 w 148"/>
                <a:gd name="T57" fmla="*/ 2 h 151"/>
                <a:gd name="T58" fmla="*/ 77 w 148"/>
                <a:gd name="T59" fmla="*/ 7 h 151"/>
                <a:gd name="T60" fmla="*/ 86 w 148"/>
                <a:gd name="T61" fmla="*/ 0 h 151"/>
                <a:gd name="T62" fmla="*/ 104 w 148"/>
                <a:gd name="T63" fmla="*/ 16 h 151"/>
                <a:gd name="T64" fmla="*/ 90 w 148"/>
                <a:gd name="T65" fmla="*/ 28 h 151"/>
                <a:gd name="T66" fmla="*/ 78 w 148"/>
                <a:gd name="T67" fmla="*/ 32 h 151"/>
                <a:gd name="T68" fmla="*/ 85 w 148"/>
                <a:gd name="T69" fmla="*/ 38 h 151"/>
                <a:gd name="T70" fmla="*/ 98 w 148"/>
                <a:gd name="T71" fmla="*/ 36 h 151"/>
                <a:gd name="T72" fmla="*/ 108 w 148"/>
                <a:gd name="T73" fmla="*/ 30 h 151"/>
                <a:gd name="T74" fmla="*/ 117 w 148"/>
                <a:gd name="T75" fmla="*/ 36 h 151"/>
                <a:gd name="T76" fmla="*/ 125 w 148"/>
                <a:gd name="T77" fmla="*/ 40 h 151"/>
                <a:gd name="T78" fmla="*/ 130 w 148"/>
                <a:gd name="T79" fmla="*/ 33 h 151"/>
                <a:gd name="T80" fmla="*/ 136 w 148"/>
                <a:gd name="T81" fmla="*/ 30 h 151"/>
                <a:gd name="T82" fmla="*/ 146 w 148"/>
                <a:gd name="T83" fmla="*/ 3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8" h="151">
                  <a:moveTo>
                    <a:pt x="146" y="39"/>
                  </a:moveTo>
                  <a:cubicBezTo>
                    <a:pt x="148" y="41"/>
                    <a:pt x="144" y="46"/>
                    <a:pt x="142" y="50"/>
                  </a:cubicBezTo>
                  <a:cubicBezTo>
                    <a:pt x="141" y="52"/>
                    <a:pt x="134" y="50"/>
                    <a:pt x="133" y="54"/>
                  </a:cubicBezTo>
                  <a:cubicBezTo>
                    <a:pt x="131" y="60"/>
                    <a:pt x="136" y="72"/>
                    <a:pt x="134" y="73"/>
                  </a:cubicBezTo>
                  <a:cubicBezTo>
                    <a:pt x="130" y="75"/>
                    <a:pt x="127" y="69"/>
                    <a:pt x="127" y="69"/>
                  </a:cubicBezTo>
                  <a:cubicBezTo>
                    <a:pt x="127" y="69"/>
                    <a:pt x="120" y="69"/>
                    <a:pt x="118" y="71"/>
                  </a:cubicBezTo>
                  <a:cubicBezTo>
                    <a:pt x="115" y="72"/>
                    <a:pt x="123" y="81"/>
                    <a:pt x="125" y="84"/>
                  </a:cubicBezTo>
                  <a:cubicBezTo>
                    <a:pt x="128" y="86"/>
                    <a:pt x="122" y="91"/>
                    <a:pt x="126" y="100"/>
                  </a:cubicBezTo>
                  <a:cubicBezTo>
                    <a:pt x="127" y="102"/>
                    <a:pt x="117" y="115"/>
                    <a:pt x="114" y="116"/>
                  </a:cubicBezTo>
                  <a:cubicBezTo>
                    <a:pt x="111" y="117"/>
                    <a:pt x="114" y="102"/>
                    <a:pt x="111" y="103"/>
                  </a:cubicBezTo>
                  <a:cubicBezTo>
                    <a:pt x="105" y="106"/>
                    <a:pt x="105" y="123"/>
                    <a:pt x="97" y="130"/>
                  </a:cubicBezTo>
                  <a:cubicBezTo>
                    <a:pt x="94" y="133"/>
                    <a:pt x="97" y="139"/>
                    <a:pt x="96" y="142"/>
                  </a:cubicBezTo>
                  <a:cubicBezTo>
                    <a:pt x="95" y="145"/>
                    <a:pt x="95" y="148"/>
                    <a:pt x="92" y="151"/>
                  </a:cubicBezTo>
                  <a:cubicBezTo>
                    <a:pt x="80" y="143"/>
                    <a:pt x="80" y="143"/>
                    <a:pt x="80" y="143"/>
                  </a:cubicBezTo>
                  <a:cubicBezTo>
                    <a:pt x="77" y="143"/>
                    <a:pt x="76" y="145"/>
                    <a:pt x="71" y="145"/>
                  </a:cubicBezTo>
                  <a:cubicBezTo>
                    <a:pt x="65" y="145"/>
                    <a:pt x="65" y="135"/>
                    <a:pt x="60" y="135"/>
                  </a:cubicBezTo>
                  <a:cubicBezTo>
                    <a:pt x="55" y="135"/>
                    <a:pt x="53" y="141"/>
                    <a:pt x="52" y="145"/>
                  </a:cubicBezTo>
                  <a:cubicBezTo>
                    <a:pt x="51" y="148"/>
                    <a:pt x="41" y="145"/>
                    <a:pt x="37" y="145"/>
                  </a:cubicBezTo>
                  <a:cubicBezTo>
                    <a:pt x="33" y="145"/>
                    <a:pt x="34" y="117"/>
                    <a:pt x="31" y="117"/>
                  </a:cubicBezTo>
                  <a:cubicBezTo>
                    <a:pt x="29" y="117"/>
                    <a:pt x="23" y="115"/>
                    <a:pt x="20" y="117"/>
                  </a:cubicBezTo>
                  <a:cubicBezTo>
                    <a:pt x="18" y="103"/>
                    <a:pt x="18" y="103"/>
                    <a:pt x="18" y="103"/>
                  </a:cubicBezTo>
                  <a:cubicBezTo>
                    <a:pt x="16" y="95"/>
                    <a:pt x="0" y="91"/>
                    <a:pt x="3" y="85"/>
                  </a:cubicBezTo>
                  <a:cubicBezTo>
                    <a:pt x="4" y="82"/>
                    <a:pt x="6" y="78"/>
                    <a:pt x="9" y="75"/>
                  </a:cubicBezTo>
                  <a:cubicBezTo>
                    <a:pt x="11" y="72"/>
                    <a:pt x="13" y="70"/>
                    <a:pt x="16" y="68"/>
                  </a:cubicBezTo>
                  <a:cubicBezTo>
                    <a:pt x="22" y="63"/>
                    <a:pt x="25" y="57"/>
                    <a:pt x="26" y="53"/>
                  </a:cubicBezTo>
                  <a:cubicBezTo>
                    <a:pt x="27" y="49"/>
                    <a:pt x="21" y="38"/>
                    <a:pt x="25" y="35"/>
                  </a:cubicBezTo>
                  <a:cubicBezTo>
                    <a:pt x="29" y="31"/>
                    <a:pt x="41" y="36"/>
                    <a:pt x="43" y="32"/>
                  </a:cubicBezTo>
                  <a:cubicBezTo>
                    <a:pt x="45" y="28"/>
                    <a:pt x="46" y="6"/>
                    <a:pt x="49" y="3"/>
                  </a:cubicBezTo>
                  <a:cubicBezTo>
                    <a:pt x="51" y="1"/>
                    <a:pt x="61" y="2"/>
                    <a:pt x="63" y="2"/>
                  </a:cubicBezTo>
                  <a:cubicBezTo>
                    <a:pt x="65" y="2"/>
                    <a:pt x="71" y="9"/>
                    <a:pt x="77" y="7"/>
                  </a:cubicBezTo>
                  <a:cubicBezTo>
                    <a:pt x="79" y="6"/>
                    <a:pt x="83" y="3"/>
                    <a:pt x="86" y="0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99" y="21"/>
                    <a:pt x="93" y="28"/>
                    <a:pt x="90" y="28"/>
                  </a:cubicBezTo>
                  <a:cubicBezTo>
                    <a:pt x="87" y="29"/>
                    <a:pt x="77" y="29"/>
                    <a:pt x="78" y="32"/>
                  </a:cubicBezTo>
                  <a:cubicBezTo>
                    <a:pt x="78" y="35"/>
                    <a:pt x="82" y="35"/>
                    <a:pt x="85" y="38"/>
                  </a:cubicBezTo>
                  <a:cubicBezTo>
                    <a:pt x="88" y="40"/>
                    <a:pt x="94" y="37"/>
                    <a:pt x="98" y="36"/>
                  </a:cubicBezTo>
                  <a:cubicBezTo>
                    <a:pt x="102" y="34"/>
                    <a:pt x="106" y="30"/>
                    <a:pt x="108" y="30"/>
                  </a:cubicBezTo>
                  <a:cubicBezTo>
                    <a:pt x="110" y="30"/>
                    <a:pt x="113" y="33"/>
                    <a:pt x="117" y="36"/>
                  </a:cubicBezTo>
                  <a:cubicBezTo>
                    <a:pt x="121" y="39"/>
                    <a:pt x="123" y="41"/>
                    <a:pt x="125" y="40"/>
                  </a:cubicBezTo>
                  <a:cubicBezTo>
                    <a:pt x="127" y="40"/>
                    <a:pt x="126" y="34"/>
                    <a:pt x="130" y="33"/>
                  </a:cubicBezTo>
                  <a:cubicBezTo>
                    <a:pt x="134" y="31"/>
                    <a:pt x="134" y="29"/>
                    <a:pt x="136" y="30"/>
                  </a:cubicBezTo>
                  <a:cubicBezTo>
                    <a:pt x="137" y="32"/>
                    <a:pt x="144" y="36"/>
                    <a:pt x="146" y="39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19" name="Freeform 188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877686" y="4029481"/>
              <a:ext cx="123119" cy="108610"/>
            </a:xfrm>
            <a:custGeom>
              <a:avLst/>
              <a:gdLst>
                <a:gd name="T0" fmla="*/ 28 w 39"/>
                <a:gd name="T1" fmla="*/ 10 h 35"/>
                <a:gd name="T2" fmla="*/ 38 w 39"/>
                <a:gd name="T3" fmla="*/ 25 h 35"/>
                <a:gd name="T4" fmla="*/ 26 w 39"/>
                <a:gd name="T5" fmla="*/ 27 h 35"/>
                <a:gd name="T6" fmla="*/ 18 w 39"/>
                <a:gd name="T7" fmla="*/ 35 h 35"/>
                <a:gd name="T8" fmla="*/ 0 w 39"/>
                <a:gd name="T9" fmla="*/ 19 h 35"/>
                <a:gd name="T10" fmla="*/ 6 w 39"/>
                <a:gd name="T11" fmla="*/ 10 h 35"/>
                <a:gd name="T12" fmla="*/ 12 w 39"/>
                <a:gd name="T13" fmla="*/ 0 h 35"/>
                <a:gd name="T14" fmla="*/ 28 w 39"/>
                <a:gd name="T15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28" y="10"/>
                  </a:moveTo>
                  <a:cubicBezTo>
                    <a:pt x="32" y="13"/>
                    <a:pt x="39" y="23"/>
                    <a:pt x="38" y="25"/>
                  </a:cubicBezTo>
                  <a:cubicBezTo>
                    <a:pt x="36" y="27"/>
                    <a:pt x="28" y="25"/>
                    <a:pt x="26" y="27"/>
                  </a:cubicBezTo>
                  <a:cubicBezTo>
                    <a:pt x="24" y="28"/>
                    <a:pt x="21" y="31"/>
                    <a:pt x="18" y="3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3" y="16"/>
                    <a:pt x="6" y="12"/>
                    <a:pt x="6" y="1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3"/>
                    <a:pt x="23" y="7"/>
                    <a:pt x="28" y="10"/>
                  </a:cubicBezTo>
                  <a:close/>
                </a:path>
              </a:pathLst>
            </a:custGeom>
            <a:solidFill>
              <a:srgbClr val="FFC000"/>
            </a:solidFill>
            <a:ln w="3175" cap="rnd" algn="ctr">
              <a:solidFill>
                <a:srgbClr val="FFC000">
                  <a:alpha val="70000"/>
                </a:srgb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0" name="Freeform 189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418597" y="3626369"/>
              <a:ext cx="578036" cy="490835"/>
            </a:xfrm>
            <a:custGeom>
              <a:avLst/>
              <a:gdLst>
                <a:gd name="T0" fmla="*/ 178 w 184"/>
                <a:gd name="T1" fmla="*/ 114 h 156"/>
                <a:gd name="T2" fmla="*/ 181 w 184"/>
                <a:gd name="T3" fmla="*/ 127 h 156"/>
                <a:gd name="T4" fmla="*/ 171 w 184"/>
                <a:gd name="T5" fmla="*/ 125 h 156"/>
                <a:gd name="T6" fmla="*/ 158 w 184"/>
                <a:gd name="T7" fmla="*/ 118 h 156"/>
                <a:gd name="T8" fmla="*/ 142 w 184"/>
                <a:gd name="T9" fmla="*/ 110 h 156"/>
                <a:gd name="T10" fmla="*/ 132 w 184"/>
                <a:gd name="T11" fmla="*/ 111 h 156"/>
                <a:gd name="T12" fmla="*/ 136 w 184"/>
                <a:gd name="T13" fmla="*/ 115 h 156"/>
                <a:gd name="T14" fmla="*/ 142 w 184"/>
                <a:gd name="T15" fmla="*/ 118 h 156"/>
                <a:gd name="T16" fmla="*/ 146 w 184"/>
                <a:gd name="T17" fmla="*/ 124 h 156"/>
                <a:gd name="T18" fmla="*/ 156 w 184"/>
                <a:gd name="T19" fmla="*/ 126 h 156"/>
                <a:gd name="T20" fmla="*/ 158 w 184"/>
                <a:gd name="T21" fmla="*/ 128 h 156"/>
                <a:gd name="T22" fmla="*/ 152 w 184"/>
                <a:gd name="T23" fmla="*/ 138 h 156"/>
                <a:gd name="T24" fmla="*/ 146 w 184"/>
                <a:gd name="T25" fmla="*/ 147 h 156"/>
                <a:gd name="T26" fmla="*/ 137 w 184"/>
                <a:gd name="T27" fmla="*/ 154 h 156"/>
                <a:gd name="T28" fmla="*/ 123 w 184"/>
                <a:gd name="T29" fmla="*/ 149 h 156"/>
                <a:gd name="T30" fmla="*/ 109 w 184"/>
                <a:gd name="T31" fmla="*/ 150 h 156"/>
                <a:gd name="T32" fmla="*/ 95 w 184"/>
                <a:gd name="T33" fmla="*/ 146 h 156"/>
                <a:gd name="T34" fmla="*/ 81 w 184"/>
                <a:gd name="T35" fmla="*/ 147 h 156"/>
                <a:gd name="T36" fmla="*/ 67 w 184"/>
                <a:gd name="T37" fmla="*/ 120 h 156"/>
                <a:gd name="T38" fmla="*/ 76 w 184"/>
                <a:gd name="T39" fmla="*/ 111 h 156"/>
                <a:gd name="T40" fmla="*/ 73 w 184"/>
                <a:gd name="T41" fmla="*/ 101 h 156"/>
                <a:gd name="T42" fmla="*/ 89 w 184"/>
                <a:gd name="T43" fmla="*/ 98 h 156"/>
                <a:gd name="T44" fmla="*/ 76 w 184"/>
                <a:gd name="T45" fmla="*/ 79 h 156"/>
                <a:gd name="T46" fmla="*/ 65 w 184"/>
                <a:gd name="T47" fmla="*/ 88 h 156"/>
                <a:gd name="T48" fmla="*/ 55 w 184"/>
                <a:gd name="T49" fmla="*/ 78 h 156"/>
                <a:gd name="T50" fmla="*/ 55 w 184"/>
                <a:gd name="T51" fmla="*/ 58 h 156"/>
                <a:gd name="T52" fmla="*/ 37 w 184"/>
                <a:gd name="T53" fmla="*/ 54 h 156"/>
                <a:gd name="T54" fmla="*/ 32 w 184"/>
                <a:gd name="T55" fmla="*/ 41 h 156"/>
                <a:gd name="T56" fmla="*/ 0 w 184"/>
                <a:gd name="T57" fmla="*/ 23 h 156"/>
                <a:gd name="T58" fmla="*/ 0 w 184"/>
                <a:gd name="T59" fmla="*/ 23 h 156"/>
                <a:gd name="T60" fmla="*/ 2 w 184"/>
                <a:gd name="T61" fmla="*/ 11 h 156"/>
                <a:gd name="T62" fmla="*/ 17 w 184"/>
                <a:gd name="T63" fmla="*/ 8 h 156"/>
                <a:gd name="T64" fmla="*/ 27 w 184"/>
                <a:gd name="T65" fmla="*/ 18 h 156"/>
                <a:gd name="T66" fmla="*/ 45 w 184"/>
                <a:gd name="T67" fmla="*/ 16 h 156"/>
                <a:gd name="T68" fmla="*/ 50 w 184"/>
                <a:gd name="T69" fmla="*/ 28 h 156"/>
                <a:gd name="T70" fmla="*/ 63 w 184"/>
                <a:gd name="T71" fmla="*/ 27 h 156"/>
                <a:gd name="T72" fmla="*/ 72 w 184"/>
                <a:gd name="T73" fmla="*/ 0 h 156"/>
                <a:gd name="T74" fmla="*/ 83 w 184"/>
                <a:gd name="T75" fmla="*/ 0 h 156"/>
                <a:gd name="T76" fmla="*/ 82 w 184"/>
                <a:gd name="T77" fmla="*/ 2 h 156"/>
                <a:gd name="T78" fmla="*/ 84 w 184"/>
                <a:gd name="T79" fmla="*/ 11 h 156"/>
                <a:gd name="T80" fmla="*/ 119 w 184"/>
                <a:gd name="T81" fmla="*/ 27 h 156"/>
                <a:gd name="T82" fmla="*/ 130 w 184"/>
                <a:gd name="T83" fmla="*/ 56 h 156"/>
                <a:gd name="T84" fmla="*/ 146 w 184"/>
                <a:gd name="T85" fmla="*/ 89 h 156"/>
                <a:gd name="T86" fmla="*/ 160 w 184"/>
                <a:gd name="T87" fmla="*/ 96 h 156"/>
                <a:gd name="T88" fmla="*/ 162 w 184"/>
                <a:gd name="T89" fmla="*/ 104 h 156"/>
                <a:gd name="T90" fmla="*/ 178 w 184"/>
                <a:gd name="T91" fmla="*/ 11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4" h="156">
                  <a:moveTo>
                    <a:pt x="178" y="114"/>
                  </a:moveTo>
                  <a:cubicBezTo>
                    <a:pt x="184" y="120"/>
                    <a:pt x="181" y="124"/>
                    <a:pt x="181" y="127"/>
                  </a:cubicBezTo>
                  <a:cubicBezTo>
                    <a:pt x="181" y="130"/>
                    <a:pt x="176" y="127"/>
                    <a:pt x="171" y="125"/>
                  </a:cubicBezTo>
                  <a:cubicBezTo>
                    <a:pt x="166" y="124"/>
                    <a:pt x="163" y="120"/>
                    <a:pt x="158" y="118"/>
                  </a:cubicBezTo>
                  <a:cubicBezTo>
                    <a:pt x="153" y="115"/>
                    <a:pt x="146" y="111"/>
                    <a:pt x="142" y="110"/>
                  </a:cubicBezTo>
                  <a:cubicBezTo>
                    <a:pt x="138" y="110"/>
                    <a:pt x="136" y="110"/>
                    <a:pt x="132" y="111"/>
                  </a:cubicBezTo>
                  <a:cubicBezTo>
                    <a:pt x="129" y="112"/>
                    <a:pt x="133" y="115"/>
                    <a:pt x="136" y="115"/>
                  </a:cubicBezTo>
                  <a:cubicBezTo>
                    <a:pt x="139" y="115"/>
                    <a:pt x="140" y="115"/>
                    <a:pt x="142" y="118"/>
                  </a:cubicBezTo>
                  <a:cubicBezTo>
                    <a:pt x="144" y="122"/>
                    <a:pt x="143" y="122"/>
                    <a:pt x="146" y="124"/>
                  </a:cubicBezTo>
                  <a:cubicBezTo>
                    <a:pt x="149" y="125"/>
                    <a:pt x="154" y="124"/>
                    <a:pt x="156" y="126"/>
                  </a:cubicBezTo>
                  <a:cubicBezTo>
                    <a:pt x="156" y="127"/>
                    <a:pt x="157" y="127"/>
                    <a:pt x="158" y="128"/>
                  </a:cubicBezTo>
                  <a:cubicBezTo>
                    <a:pt x="152" y="138"/>
                    <a:pt x="152" y="138"/>
                    <a:pt x="152" y="138"/>
                  </a:cubicBezTo>
                  <a:cubicBezTo>
                    <a:pt x="152" y="140"/>
                    <a:pt x="149" y="144"/>
                    <a:pt x="146" y="147"/>
                  </a:cubicBezTo>
                  <a:cubicBezTo>
                    <a:pt x="143" y="150"/>
                    <a:pt x="139" y="153"/>
                    <a:pt x="137" y="154"/>
                  </a:cubicBezTo>
                  <a:cubicBezTo>
                    <a:pt x="131" y="156"/>
                    <a:pt x="125" y="149"/>
                    <a:pt x="123" y="149"/>
                  </a:cubicBezTo>
                  <a:cubicBezTo>
                    <a:pt x="121" y="149"/>
                    <a:pt x="111" y="148"/>
                    <a:pt x="109" y="150"/>
                  </a:cubicBezTo>
                  <a:cubicBezTo>
                    <a:pt x="95" y="146"/>
                    <a:pt x="95" y="146"/>
                    <a:pt x="95" y="146"/>
                  </a:cubicBezTo>
                  <a:cubicBezTo>
                    <a:pt x="90" y="146"/>
                    <a:pt x="84" y="151"/>
                    <a:pt x="81" y="147"/>
                  </a:cubicBezTo>
                  <a:cubicBezTo>
                    <a:pt x="77" y="143"/>
                    <a:pt x="66" y="123"/>
                    <a:pt x="67" y="120"/>
                  </a:cubicBezTo>
                  <a:cubicBezTo>
                    <a:pt x="67" y="116"/>
                    <a:pt x="75" y="114"/>
                    <a:pt x="76" y="111"/>
                  </a:cubicBezTo>
                  <a:cubicBezTo>
                    <a:pt x="77" y="108"/>
                    <a:pt x="71" y="103"/>
                    <a:pt x="73" y="101"/>
                  </a:cubicBezTo>
                  <a:cubicBezTo>
                    <a:pt x="76" y="99"/>
                    <a:pt x="87" y="100"/>
                    <a:pt x="89" y="98"/>
                  </a:cubicBezTo>
                  <a:cubicBezTo>
                    <a:pt x="91" y="95"/>
                    <a:pt x="82" y="74"/>
                    <a:pt x="76" y="79"/>
                  </a:cubicBezTo>
                  <a:cubicBezTo>
                    <a:pt x="70" y="84"/>
                    <a:pt x="71" y="88"/>
                    <a:pt x="65" y="88"/>
                  </a:cubicBezTo>
                  <a:cubicBezTo>
                    <a:pt x="59" y="88"/>
                    <a:pt x="56" y="84"/>
                    <a:pt x="55" y="78"/>
                  </a:cubicBezTo>
                  <a:cubicBezTo>
                    <a:pt x="53" y="72"/>
                    <a:pt x="55" y="62"/>
                    <a:pt x="55" y="58"/>
                  </a:cubicBezTo>
                  <a:cubicBezTo>
                    <a:pt x="55" y="53"/>
                    <a:pt x="39" y="56"/>
                    <a:pt x="37" y="54"/>
                  </a:cubicBezTo>
                  <a:cubicBezTo>
                    <a:pt x="35" y="51"/>
                    <a:pt x="37" y="43"/>
                    <a:pt x="32" y="41"/>
                  </a:cubicBezTo>
                  <a:cubicBezTo>
                    <a:pt x="27" y="39"/>
                    <a:pt x="5" y="25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" y="19"/>
                    <a:pt x="0" y="11"/>
                    <a:pt x="2" y="11"/>
                  </a:cubicBezTo>
                  <a:cubicBezTo>
                    <a:pt x="4" y="11"/>
                    <a:pt x="14" y="8"/>
                    <a:pt x="17" y="8"/>
                  </a:cubicBezTo>
                  <a:cubicBezTo>
                    <a:pt x="19" y="7"/>
                    <a:pt x="25" y="20"/>
                    <a:pt x="27" y="18"/>
                  </a:cubicBezTo>
                  <a:cubicBezTo>
                    <a:pt x="30" y="17"/>
                    <a:pt x="41" y="16"/>
                    <a:pt x="45" y="16"/>
                  </a:cubicBezTo>
                  <a:cubicBezTo>
                    <a:pt x="50" y="16"/>
                    <a:pt x="47" y="27"/>
                    <a:pt x="50" y="28"/>
                  </a:cubicBezTo>
                  <a:cubicBezTo>
                    <a:pt x="53" y="28"/>
                    <a:pt x="59" y="27"/>
                    <a:pt x="63" y="27"/>
                  </a:cubicBezTo>
                  <a:cubicBezTo>
                    <a:pt x="67" y="27"/>
                    <a:pt x="67" y="0"/>
                    <a:pt x="7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2" y="1"/>
                    <a:pt x="82" y="1"/>
                    <a:pt x="82" y="2"/>
                  </a:cubicBezTo>
                  <a:cubicBezTo>
                    <a:pt x="82" y="6"/>
                    <a:pt x="81" y="9"/>
                    <a:pt x="84" y="11"/>
                  </a:cubicBezTo>
                  <a:cubicBezTo>
                    <a:pt x="86" y="14"/>
                    <a:pt x="117" y="23"/>
                    <a:pt x="119" y="27"/>
                  </a:cubicBezTo>
                  <a:cubicBezTo>
                    <a:pt x="121" y="31"/>
                    <a:pt x="128" y="49"/>
                    <a:pt x="130" y="56"/>
                  </a:cubicBezTo>
                  <a:cubicBezTo>
                    <a:pt x="133" y="62"/>
                    <a:pt x="142" y="83"/>
                    <a:pt x="146" y="89"/>
                  </a:cubicBezTo>
                  <a:cubicBezTo>
                    <a:pt x="150" y="95"/>
                    <a:pt x="160" y="93"/>
                    <a:pt x="160" y="96"/>
                  </a:cubicBezTo>
                  <a:cubicBezTo>
                    <a:pt x="160" y="99"/>
                    <a:pt x="160" y="101"/>
                    <a:pt x="162" y="104"/>
                  </a:cubicBezTo>
                  <a:cubicBezTo>
                    <a:pt x="164" y="107"/>
                    <a:pt x="172" y="107"/>
                    <a:pt x="178" y="114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1" name="Freeform 19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634404" y="1422833"/>
              <a:ext cx="2358055" cy="1948720"/>
            </a:xfrm>
            <a:custGeom>
              <a:avLst/>
              <a:gdLst>
                <a:gd name="T0" fmla="*/ 731 w 751"/>
                <a:gd name="T1" fmla="*/ 149 h 620"/>
                <a:gd name="T2" fmla="*/ 687 w 751"/>
                <a:gd name="T3" fmla="*/ 221 h 620"/>
                <a:gd name="T4" fmla="*/ 725 w 751"/>
                <a:gd name="T5" fmla="*/ 245 h 620"/>
                <a:gd name="T6" fmla="*/ 709 w 751"/>
                <a:gd name="T7" fmla="*/ 277 h 620"/>
                <a:gd name="T8" fmla="*/ 673 w 751"/>
                <a:gd name="T9" fmla="*/ 294 h 620"/>
                <a:gd name="T10" fmla="*/ 719 w 751"/>
                <a:gd name="T11" fmla="*/ 331 h 620"/>
                <a:gd name="T12" fmla="*/ 728 w 751"/>
                <a:gd name="T13" fmla="*/ 394 h 620"/>
                <a:gd name="T14" fmla="*/ 673 w 751"/>
                <a:gd name="T15" fmla="*/ 420 h 620"/>
                <a:gd name="T16" fmla="*/ 624 w 751"/>
                <a:gd name="T17" fmla="*/ 428 h 620"/>
                <a:gd name="T18" fmla="*/ 602 w 751"/>
                <a:gd name="T19" fmla="*/ 465 h 620"/>
                <a:gd name="T20" fmla="*/ 556 w 751"/>
                <a:gd name="T21" fmla="*/ 446 h 620"/>
                <a:gd name="T22" fmla="*/ 502 w 751"/>
                <a:gd name="T23" fmla="*/ 440 h 620"/>
                <a:gd name="T24" fmla="*/ 482 w 751"/>
                <a:gd name="T25" fmla="*/ 499 h 620"/>
                <a:gd name="T26" fmla="*/ 427 w 751"/>
                <a:gd name="T27" fmla="*/ 515 h 620"/>
                <a:gd name="T28" fmla="*/ 395 w 751"/>
                <a:gd name="T29" fmla="*/ 550 h 620"/>
                <a:gd name="T30" fmla="*/ 357 w 751"/>
                <a:gd name="T31" fmla="*/ 577 h 620"/>
                <a:gd name="T32" fmla="*/ 291 w 751"/>
                <a:gd name="T33" fmla="*/ 608 h 620"/>
                <a:gd name="T34" fmla="*/ 273 w 751"/>
                <a:gd name="T35" fmla="*/ 563 h 620"/>
                <a:gd name="T36" fmla="*/ 236 w 751"/>
                <a:gd name="T37" fmla="*/ 574 h 620"/>
                <a:gd name="T38" fmla="*/ 195 w 751"/>
                <a:gd name="T39" fmla="*/ 620 h 620"/>
                <a:gd name="T40" fmla="*/ 163 w 751"/>
                <a:gd name="T41" fmla="*/ 587 h 620"/>
                <a:gd name="T42" fmla="*/ 189 w 751"/>
                <a:gd name="T43" fmla="*/ 542 h 620"/>
                <a:gd name="T44" fmla="*/ 120 w 751"/>
                <a:gd name="T45" fmla="*/ 563 h 620"/>
                <a:gd name="T46" fmla="*/ 77 w 751"/>
                <a:gd name="T47" fmla="*/ 526 h 620"/>
                <a:gd name="T48" fmla="*/ 63 w 751"/>
                <a:gd name="T49" fmla="*/ 471 h 620"/>
                <a:gd name="T50" fmla="*/ 3 w 751"/>
                <a:gd name="T51" fmla="*/ 449 h 620"/>
                <a:gd name="T52" fmla="*/ 7 w 751"/>
                <a:gd name="T53" fmla="*/ 399 h 620"/>
                <a:gd name="T54" fmla="*/ 121 w 751"/>
                <a:gd name="T55" fmla="*/ 418 h 620"/>
                <a:gd name="T56" fmla="*/ 223 w 751"/>
                <a:gd name="T57" fmla="*/ 460 h 620"/>
                <a:gd name="T58" fmla="*/ 377 w 751"/>
                <a:gd name="T59" fmla="*/ 417 h 620"/>
                <a:gd name="T60" fmla="*/ 411 w 751"/>
                <a:gd name="T61" fmla="*/ 334 h 620"/>
                <a:gd name="T62" fmla="*/ 500 w 751"/>
                <a:gd name="T63" fmla="*/ 320 h 620"/>
                <a:gd name="T64" fmla="*/ 582 w 751"/>
                <a:gd name="T65" fmla="*/ 259 h 620"/>
                <a:gd name="T66" fmla="*/ 614 w 751"/>
                <a:gd name="T67" fmla="*/ 232 h 620"/>
                <a:gd name="T68" fmla="*/ 518 w 751"/>
                <a:gd name="T69" fmla="*/ 228 h 620"/>
                <a:gd name="T70" fmla="*/ 542 w 751"/>
                <a:gd name="T71" fmla="*/ 151 h 620"/>
                <a:gd name="T72" fmla="*/ 594 w 751"/>
                <a:gd name="T73" fmla="*/ 123 h 620"/>
                <a:gd name="T74" fmla="*/ 613 w 751"/>
                <a:gd name="T75" fmla="*/ 58 h 620"/>
                <a:gd name="T76" fmla="*/ 598 w 751"/>
                <a:gd name="T77" fmla="*/ 32 h 620"/>
                <a:gd name="T78" fmla="*/ 629 w 751"/>
                <a:gd name="T79" fmla="*/ 0 h 620"/>
                <a:gd name="T80" fmla="*/ 629 w 751"/>
                <a:gd name="T81" fmla="*/ 29 h 620"/>
                <a:gd name="T82" fmla="*/ 667 w 751"/>
                <a:gd name="T83" fmla="*/ 41 h 620"/>
                <a:gd name="T84" fmla="*/ 718 w 751"/>
                <a:gd name="T85" fmla="*/ 63 h 620"/>
                <a:gd name="T86" fmla="*/ 738 w 751"/>
                <a:gd name="T87" fmla="*/ 113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1" h="620">
                  <a:moveTo>
                    <a:pt x="738" y="113"/>
                  </a:moveTo>
                  <a:cubicBezTo>
                    <a:pt x="738" y="123"/>
                    <a:pt x="747" y="137"/>
                    <a:pt x="746" y="143"/>
                  </a:cubicBezTo>
                  <a:cubicBezTo>
                    <a:pt x="745" y="149"/>
                    <a:pt x="731" y="145"/>
                    <a:pt x="731" y="149"/>
                  </a:cubicBezTo>
                  <a:cubicBezTo>
                    <a:pt x="731" y="154"/>
                    <a:pt x="737" y="187"/>
                    <a:pt x="734" y="187"/>
                  </a:cubicBezTo>
                  <a:cubicBezTo>
                    <a:pt x="731" y="187"/>
                    <a:pt x="721" y="179"/>
                    <a:pt x="718" y="181"/>
                  </a:cubicBezTo>
                  <a:cubicBezTo>
                    <a:pt x="715" y="184"/>
                    <a:pt x="687" y="215"/>
                    <a:pt x="687" y="221"/>
                  </a:cubicBezTo>
                  <a:cubicBezTo>
                    <a:pt x="686" y="227"/>
                    <a:pt x="697" y="237"/>
                    <a:pt x="701" y="239"/>
                  </a:cubicBezTo>
                  <a:cubicBezTo>
                    <a:pt x="706" y="241"/>
                    <a:pt x="709" y="232"/>
                    <a:pt x="713" y="233"/>
                  </a:cubicBezTo>
                  <a:cubicBezTo>
                    <a:pt x="716" y="235"/>
                    <a:pt x="725" y="241"/>
                    <a:pt x="725" y="245"/>
                  </a:cubicBezTo>
                  <a:cubicBezTo>
                    <a:pt x="725" y="249"/>
                    <a:pt x="708" y="257"/>
                    <a:pt x="707" y="259"/>
                  </a:cubicBezTo>
                  <a:cubicBezTo>
                    <a:pt x="706" y="261"/>
                    <a:pt x="707" y="265"/>
                    <a:pt x="713" y="267"/>
                  </a:cubicBezTo>
                  <a:cubicBezTo>
                    <a:pt x="709" y="277"/>
                    <a:pt x="709" y="277"/>
                    <a:pt x="709" y="277"/>
                  </a:cubicBezTo>
                  <a:cubicBezTo>
                    <a:pt x="708" y="279"/>
                    <a:pt x="708" y="284"/>
                    <a:pt x="706" y="287"/>
                  </a:cubicBezTo>
                  <a:cubicBezTo>
                    <a:pt x="704" y="289"/>
                    <a:pt x="680" y="278"/>
                    <a:pt x="676" y="277"/>
                  </a:cubicBezTo>
                  <a:cubicBezTo>
                    <a:pt x="672" y="275"/>
                    <a:pt x="675" y="291"/>
                    <a:pt x="673" y="294"/>
                  </a:cubicBezTo>
                  <a:cubicBezTo>
                    <a:pt x="672" y="297"/>
                    <a:pt x="690" y="305"/>
                    <a:pt x="690" y="310"/>
                  </a:cubicBezTo>
                  <a:cubicBezTo>
                    <a:pt x="690" y="315"/>
                    <a:pt x="694" y="343"/>
                    <a:pt x="698" y="343"/>
                  </a:cubicBezTo>
                  <a:cubicBezTo>
                    <a:pt x="702" y="343"/>
                    <a:pt x="715" y="328"/>
                    <a:pt x="719" y="331"/>
                  </a:cubicBezTo>
                  <a:cubicBezTo>
                    <a:pt x="723" y="333"/>
                    <a:pt x="736" y="367"/>
                    <a:pt x="743" y="369"/>
                  </a:cubicBezTo>
                  <a:cubicBezTo>
                    <a:pt x="741" y="381"/>
                    <a:pt x="741" y="381"/>
                    <a:pt x="741" y="381"/>
                  </a:cubicBezTo>
                  <a:cubicBezTo>
                    <a:pt x="739" y="384"/>
                    <a:pt x="734" y="391"/>
                    <a:pt x="728" y="394"/>
                  </a:cubicBezTo>
                  <a:cubicBezTo>
                    <a:pt x="722" y="397"/>
                    <a:pt x="713" y="389"/>
                    <a:pt x="709" y="391"/>
                  </a:cubicBezTo>
                  <a:cubicBezTo>
                    <a:pt x="704" y="393"/>
                    <a:pt x="705" y="406"/>
                    <a:pt x="702" y="406"/>
                  </a:cubicBezTo>
                  <a:cubicBezTo>
                    <a:pt x="699" y="406"/>
                    <a:pt x="676" y="417"/>
                    <a:pt x="673" y="420"/>
                  </a:cubicBezTo>
                  <a:cubicBezTo>
                    <a:pt x="669" y="423"/>
                    <a:pt x="655" y="441"/>
                    <a:pt x="653" y="443"/>
                  </a:cubicBezTo>
                  <a:cubicBezTo>
                    <a:pt x="651" y="444"/>
                    <a:pt x="638" y="421"/>
                    <a:pt x="635" y="422"/>
                  </a:cubicBezTo>
                  <a:cubicBezTo>
                    <a:pt x="631" y="423"/>
                    <a:pt x="623" y="422"/>
                    <a:pt x="624" y="428"/>
                  </a:cubicBezTo>
                  <a:cubicBezTo>
                    <a:pt x="625" y="434"/>
                    <a:pt x="633" y="461"/>
                    <a:pt x="629" y="463"/>
                  </a:cubicBezTo>
                  <a:cubicBezTo>
                    <a:pt x="627" y="464"/>
                    <a:pt x="625" y="464"/>
                    <a:pt x="621" y="465"/>
                  </a:cubicBezTo>
                  <a:cubicBezTo>
                    <a:pt x="614" y="465"/>
                    <a:pt x="605" y="464"/>
                    <a:pt x="602" y="465"/>
                  </a:cubicBezTo>
                  <a:cubicBezTo>
                    <a:pt x="598" y="465"/>
                    <a:pt x="585" y="416"/>
                    <a:pt x="579" y="416"/>
                  </a:cubicBezTo>
                  <a:cubicBezTo>
                    <a:pt x="574" y="416"/>
                    <a:pt x="564" y="426"/>
                    <a:pt x="557" y="427"/>
                  </a:cubicBezTo>
                  <a:cubicBezTo>
                    <a:pt x="551" y="427"/>
                    <a:pt x="559" y="446"/>
                    <a:pt x="556" y="446"/>
                  </a:cubicBezTo>
                  <a:cubicBezTo>
                    <a:pt x="553" y="446"/>
                    <a:pt x="531" y="448"/>
                    <a:pt x="527" y="449"/>
                  </a:cubicBezTo>
                  <a:cubicBezTo>
                    <a:pt x="523" y="449"/>
                    <a:pt x="510" y="461"/>
                    <a:pt x="507" y="461"/>
                  </a:cubicBezTo>
                  <a:cubicBezTo>
                    <a:pt x="503" y="461"/>
                    <a:pt x="506" y="441"/>
                    <a:pt x="502" y="440"/>
                  </a:cubicBezTo>
                  <a:cubicBezTo>
                    <a:pt x="498" y="439"/>
                    <a:pt x="494" y="439"/>
                    <a:pt x="490" y="441"/>
                  </a:cubicBezTo>
                  <a:cubicBezTo>
                    <a:pt x="486" y="443"/>
                    <a:pt x="475" y="476"/>
                    <a:pt x="474" y="480"/>
                  </a:cubicBezTo>
                  <a:cubicBezTo>
                    <a:pt x="473" y="482"/>
                    <a:pt x="478" y="491"/>
                    <a:pt x="482" y="499"/>
                  </a:cubicBezTo>
                  <a:cubicBezTo>
                    <a:pt x="473" y="503"/>
                    <a:pt x="473" y="503"/>
                    <a:pt x="473" y="503"/>
                  </a:cubicBezTo>
                  <a:cubicBezTo>
                    <a:pt x="473" y="503"/>
                    <a:pt x="449" y="515"/>
                    <a:pt x="444" y="517"/>
                  </a:cubicBezTo>
                  <a:cubicBezTo>
                    <a:pt x="439" y="520"/>
                    <a:pt x="433" y="513"/>
                    <a:pt x="427" y="515"/>
                  </a:cubicBezTo>
                  <a:cubicBezTo>
                    <a:pt x="421" y="516"/>
                    <a:pt x="419" y="541"/>
                    <a:pt x="415" y="543"/>
                  </a:cubicBezTo>
                  <a:cubicBezTo>
                    <a:pt x="412" y="545"/>
                    <a:pt x="404" y="547"/>
                    <a:pt x="404" y="547"/>
                  </a:cubicBezTo>
                  <a:cubicBezTo>
                    <a:pt x="395" y="550"/>
                    <a:pt x="395" y="550"/>
                    <a:pt x="395" y="550"/>
                  </a:cubicBezTo>
                  <a:cubicBezTo>
                    <a:pt x="395" y="547"/>
                    <a:pt x="393" y="546"/>
                    <a:pt x="390" y="546"/>
                  </a:cubicBezTo>
                  <a:cubicBezTo>
                    <a:pt x="387" y="546"/>
                    <a:pt x="367" y="554"/>
                    <a:pt x="361" y="558"/>
                  </a:cubicBezTo>
                  <a:cubicBezTo>
                    <a:pt x="356" y="561"/>
                    <a:pt x="358" y="573"/>
                    <a:pt x="357" y="577"/>
                  </a:cubicBezTo>
                  <a:cubicBezTo>
                    <a:pt x="356" y="581"/>
                    <a:pt x="347" y="582"/>
                    <a:pt x="342" y="585"/>
                  </a:cubicBezTo>
                  <a:cubicBezTo>
                    <a:pt x="337" y="588"/>
                    <a:pt x="322" y="616"/>
                    <a:pt x="318" y="616"/>
                  </a:cubicBezTo>
                  <a:cubicBezTo>
                    <a:pt x="313" y="616"/>
                    <a:pt x="294" y="610"/>
                    <a:pt x="291" y="608"/>
                  </a:cubicBezTo>
                  <a:cubicBezTo>
                    <a:pt x="287" y="607"/>
                    <a:pt x="282" y="593"/>
                    <a:pt x="276" y="593"/>
                  </a:cubicBezTo>
                  <a:cubicBezTo>
                    <a:pt x="271" y="593"/>
                    <a:pt x="260" y="591"/>
                    <a:pt x="261" y="588"/>
                  </a:cubicBezTo>
                  <a:cubicBezTo>
                    <a:pt x="262" y="585"/>
                    <a:pt x="276" y="565"/>
                    <a:pt x="273" y="563"/>
                  </a:cubicBezTo>
                  <a:cubicBezTo>
                    <a:pt x="271" y="561"/>
                    <a:pt x="270" y="547"/>
                    <a:pt x="266" y="547"/>
                  </a:cubicBezTo>
                  <a:cubicBezTo>
                    <a:pt x="262" y="546"/>
                    <a:pt x="257" y="548"/>
                    <a:pt x="253" y="550"/>
                  </a:cubicBezTo>
                  <a:cubicBezTo>
                    <a:pt x="249" y="551"/>
                    <a:pt x="239" y="568"/>
                    <a:pt x="236" y="574"/>
                  </a:cubicBezTo>
                  <a:cubicBezTo>
                    <a:pt x="233" y="580"/>
                    <a:pt x="236" y="604"/>
                    <a:pt x="236" y="609"/>
                  </a:cubicBezTo>
                  <a:cubicBezTo>
                    <a:pt x="235" y="614"/>
                    <a:pt x="222" y="610"/>
                    <a:pt x="215" y="611"/>
                  </a:cubicBezTo>
                  <a:cubicBezTo>
                    <a:pt x="211" y="612"/>
                    <a:pt x="195" y="620"/>
                    <a:pt x="195" y="620"/>
                  </a:cubicBezTo>
                  <a:cubicBezTo>
                    <a:pt x="194" y="619"/>
                    <a:pt x="193" y="619"/>
                    <a:pt x="192" y="619"/>
                  </a:cubicBezTo>
                  <a:cubicBezTo>
                    <a:pt x="188" y="618"/>
                    <a:pt x="174" y="609"/>
                    <a:pt x="167" y="605"/>
                  </a:cubicBezTo>
                  <a:cubicBezTo>
                    <a:pt x="160" y="601"/>
                    <a:pt x="162" y="592"/>
                    <a:pt x="163" y="587"/>
                  </a:cubicBezTo>
                  <a:cubicBezTo>
                    <a:pt x="165" y="583"/>
                    <a:pt x="164" y="579"/>
                    <a:pt x="171" y="578"/>
                  </a:cubicBezTo>
                  <a:cubicBezTo>
                    <a:pt x="177" y="576"/>
                    <a:pt x="187" y="563"/>
                    <a:pt x="189" y="559"/>
                  </a:cubicBezTo>
                  <a:cubicBezTo>
                    <a:pt x="192" y="554"/>
                    <a:pt x="192" y="545"/>
                    <a:pt x="189" y="542"/>
                  </a:cubicBezTo>
                  <a:cubicBezTo>
                    <a:pt x="186" y="539"/>
                    <a:pt x="156" y="553"/>
                    <a:pt x="151" y="553"/>
                  </a:cubicBezTo>
                  <a:cubicBezTo>
                    <a:pt x="146" y="553"/>
                    <a:pt x="143" y="546"/>
                    <a:pt x="132" y="547"/>
                  </a:cubicBezTo>
                  <a:cubicBezTo>
                    <a:pt x="122" y="548"/>
                    <a:pt x="124" y="561"/>
                    <a:pt x="120" y="563"/>
                  </a:cubicBezTo>
                  <a:cubicBezTo>
                    <a:pt x="116" y="565"/>
                    <a:pt x="100" y="552"/>
                    <a:pt x="96" y="550"/>
                  </a:cubicBezTo>
                  <a:cubicBezTo>
                    <a:pt x="92" y="547"/>
                    <a:pt x="96" y="534"/>
                    <a:pt x="94" y="530"/>
                  </a:cubicBezTo>
                  <a:cubicBezTo>
                    <a:pt x="92" y="527"/>
                    <a:pt x="80" y="529"/>
                    <a:pt x="77" y="526"/>
                  </a:cubicBezTo>
                  <a:cubicBezTo>
                    <a:pt x="74" y="524"/>
                    <a:pt x="64" y="514"/>
                    <a:pt x="61" y="511"/>
                  </a:cubicBezTo>
                  <a:cubicBezTo>
                    <a:pt x="58" y="508"/>
                    <a:pt x="78" y="489"/>
                    <a:pt x="78" y="484"/>
                  </a:cubicBezTo>
                  <a:cubicBezTo>
                    <a:pt x="78" y="478"/>
                    <a:pt x="67" y="471"/>
                    <a:pt x="63" y="471"/>
                  </a:cubicBezTo>
                  <a:cubicBezTo>
                    <a:pt x="60" y="471"/>
                    <a:pt x="39" y="484"/>
                    <a:pt x="34" y="486"/>
                  </a:cubicBezTo>
                  <a:cubicBezTo>
                    <a:pt x="28" y="489"/>
                    <a:pt x="29" y="487"/>
                    <a:pt x="21" y="483"/>
                  </a:cubicBezTo>
                  <a:cubicBezTo>
                    <a:pt x="13" y="478"/>
                    <a:pt x="6" y="458"/>
                    <a:pt x="3" y="449"/>
                  </a:cubicBezTo>
                  <a:cubicBezTo>
                    <a:pt x="0" y="441"/>
                    <a:pt x="4" y="434"/>
                    <a:pt x="6" y="430"/>
                  </a:cubicBezTo>
                  <a:cubicBezTo>
                    <a:pt x="7" y="425"/>
                    <a:pt x="5" y="415"/>
                    <a:pt x="6" y="410"/>
                  </a:cubicBezTo>
                  <a:cubicBezTo>
                    <a:pt x="6" y="407"/>
                    <a:pt x="7" y="403"/>
                    <a:pt x="7" y="399"/>
                  </a:cubicBezTo>
                  <a:cubicBezTo>
                    <a:pt x="20" y="402"/>
                    <a:pt x="32" y="404"/>
                    <a:pt x="35" y="405"/>
                  </a:cubicBezTo>
                  <a:cubicBezTo>
                    <a:pt x="41" y="406"/>
                    <a:pt x="68" y="412"/>
                    <a:pt x="78" y="412"/>
                  </a:cubicBezTo>
                  <a:cubicBezTo>
                    <a:pt x="88" y="412"/>
                    <a:pt x="113" y="415"/>
                    <a:pt x="121" y="418"/>
                  </a:cubicBezTo>
                  <a:cubicBezTo>
                    <a:pt x="129" y="421"/>
                    <a:pt x="131" y="428"/>
                    <a:pt x="137" y="431"/>
                  </a:cubicBezTo>
                  <a:cubicBezTo>
                    <a:pt x="143" y="434"/>
                    <a:pt x="168" y="447"/>
                    <a:pt x="181" y="451"/>
                  </a:cubicBezTo>
                  <a:cubicBezTo>
                    <a:pt x="194" y="455"/>
                    <a:pt x="219" y="464"/>
                    <a:pt x="223" y="460"/>
                  </a:cubicBezTo>
                  <a:cubicBezTo>
                    <a:pt x="227" y="456"/>
                    <a:pt x="270" y="438"/>
                    <a:pt x="286" y="436"/>
                  </a:cubicBezTo>
                  <a:cubicBezTo>
                    <a:pt x="302" y="434"/>
                    <a:pt x="329" y="435"/>
                    <a:pt x="340" y="435"/>
                  </a:cubicBezTo>
                  <a:cubicBezTo>
                    <a:pt x="351" y="435"/>
                    <a:pt x="368" y="428"/>
                    <a:pt x="377" y="417"/>
                  </a:cubicBezTo>
                  <a:cubicBezTo>
                    <a:pt x="386" y="406"/>
                    <a:pt x="406" y="390"/>
                    <a:pt x="414" y="386"/>
                  </a:cubicBezTo>
                  <a:cubicBezTo>
                    <a:pt x="422" y="382"/>
                    <a:pt x="401" y="363"/>
                    <a:pt x="401" y="357"/>
                  </a:cubicBezTo>
                  <a:cubicBezTo>
                    <a:pt x="401" y="351"/>
                    <a:pt x="403" y="342"/>
                    <a:pt x="411" y="334"/>
                  </a:cubicBezTo>
                  <a:cubicBezTo>
                    <a:pt x="419" y="326"/>
                    <a:pt x="453" y="341"/>
                    <a:pt x="460" y="341"/>
                  </a:cubicBezTo>
                  <a:cubicBezTo>
                    <a:pt x="467" y="341"/>
                    <a:pt x="475" y="326"/>
                    <a:pt x="480" y="320"/>
                  </a:cubicBezTo>
                  <a:cubicBezTo>
                    <a:pt x="485" y="314"/>
                    <a:pt x="496" y="320"/>
                    <a:pt x="500" y="320"/>
                  </a:cubicBezTo>
                  <a:cubicBezTo>
                    <a:pt x="504" y="320"/>
                    <a:pt x="524" y="309"/>
                    <a:pt x="529" y="306"/>
                  </a:cubicBezTo>
                  <a:cubicBezTo>
                    <a:pt x="534" y="303"/>
                    <a:pt x="533" y="286"/>
                    <a:pt x="539" y="280"/>
                  </a:cubicBezTo>
                  <a:cubicBezTo>
                    <a:pt x="545" y="274"/>
                    <a:pt x="572" y="262"/>
                    <a:pt x="582" y="259"/>
                  </a:cubicBezTo>
                  <a:cubicBezTo>
                    <a:pt x="591" y="257"/>
                    <a:pt x="609" y="269"/>
                    <a:pt x="611" y="269"/>
                  </a:cubicBezTo>
                  <a:cubicBezTo>
                    <a:pt x="614" y="269"/>
                    <a:pt x="623" y="255"/>
                    <a:pt x="623" y="253"/>
                  </a:cubicBezTo>
                  <a:cubicBezTo>
                    <a:pt x="623" y="250"/>
                    <a:pt x="621" y="238"/>
                    <a:pt x="614" y="232"/>
                  </a:cubicBezTo>
                  <a:cubicBezTo>
                    <a:pt x="607" y="225"/>
                    <a:pt x="570" y="210"/>
                    <a:pt x="566" y="210"/>
                  </a:cubicBezTo>
                  <a:cubicBezTo>
                    <a:pt x="563" y="210"/>
                    <a:pt x="555" y="225"/>
                    <a:pt x="551" y="226"/>
                  </a:cubicBezTo>
                  <a:cubicBezTo>
                    <a:pt x="547" y="227"/>
                    <a:pt x="522" y="228"/>
                    <a:pt x="518" y="228"/>
                  </a:cubicBezTo>
                  <a:cubicBezTo>
                    <a:pt x="513" y="228"/>
                    <a:pt x="500" y="220"/>
                    <a:pt x="502" y="216"/>
                  </a:cubicBezTo>
                  <a:cubicBezTo>
                    <a:pt x="503" y="211"/>
                    <a:pt x="527" y="145"/>
                    <a:pt x="528" y="145"/>
                  </a:cubicBezTo>
                  <a:cubicBezTo>
                    <a:pt x="530" y="145"/>
                    <a:pt x="538" y="149"/>
                    <a:pt x="542" y="151"/>
                  </a:cubicBezTo>
                  <a:cubicBezTo>
                    <a:pt x="548" y="155"/>
                    <a:pt x="557" y="156"/>
                    <a:pt x="559" y="156"/>
                  </a:cubicBezTo>
                  <a:cubicBezTo>
                    <a:pt x="562" y="157"/>
                    <a:pt x="574" y="138"/>
                    <a:pt x="582" y="136"/>
                  </a:cubicBezTo>
                  <a:cubicBezTo>
                    <a:pt x="591" y="134"/>
                    <a:pt x="594" y="128"/>
                    <a:pt x="594" y="123"/>
                  </a:cubicBezTo>
                  <a:cubicBezTo>
                    <a:pt x="594" y="119"/>
                    <a:pt x="587" y="118"/>
                    <a:pt x="588" y="115"/>
                  </a:cubicBezTo>
                  <a:cubicBezTo>
                    <a:pt x="589" y="112"/>
                    <a:pt x="596" y="93"/>
                    <a:pt x="599" y="82"/>
                  </a:cubicBezTo>
                  <a:cubicBezTo>
                    <a:pt x="602" y="71"/>
                    <a:pt x="610" y="60"/>
                    <a:pt x="613" y="58"/>
                  </a:cubicBezTo>
                  <a:cubicBezTo>
                    <a:pt x="616" y="55"/>
                    <a:pt x="617" y="53"/>
                    <a:pt x="617" y="49"/>
                  </a:cubicBezTo>
                  <a:cubicBezTo>
                    <a:pt x="617" y="45"/>
                    <a:pt x="614" y="36"/>
                    <a:pt x="612" y="34"/>
                  </a:cubicBezTo>
                  <a:cubicBezTo>
                    <a:pt x="611" y="32"/>
                    <a:pt x="601" y="33"/>
                    <a:pt x="598" y="32"/>
                  </a:cubicBezTo>
                  <a:cubicBezTo>
                    <a:pt x="596" y="31"/>
                    <a:pt x="595" y="28"/>
                    <a:pt x="596" y="26"/>
                  </a:cubicBezTo>
                  <a:cubicBezTo>
                    <a:pt x="597" y="23"/>
                    <a:pt x="613" y="4"/>
                    <a:pt x="616" y="4"/>
                  </a:cubicBezTo>
                  <a:cubicBezTo>
                    <a:pt x="618" y="4"/>
                    <a:pt x="623" y="2"/>
                    <a:pt x="629" y="0"/>
                  </a:cubicBezTo>
                  <a:cubicBezTo>
                    <a:pt x="633" y="3"/>
                    <a:pt x="633" y="3"/>
                    <a:pt x="633" y="3"/>
                  </a:cubicBezTo>
                  <a:cubicBezTo>
                    <a:pt x="638" y="6"/>
                    <a:pt x="639" y="13"/>
                    <a:pt x="636" y="17"/>
                  </a:cubicBezTo>
                  <a:cubicBezTo>
                    <a:pt x="633" y="20"/>
                    <a:pt x="631" y="28"/>
                    <a:pt x="629" y="29"/>
                  </a:cubicBezTo>
                  <a:cubicBezTo>
                    <a:pt x="626" y="29"/>
                    <a:pt x="643" y="35"/>
                    <a:pt x="645" y="38"/>
                  </a:cubicBezTo>
                  <a:cubicBezTo>
                    <a:pt x="647" y="41"/>
                    <a:pt x="650" y="25"/>
                    <a:pt x="655" y="28"/>
                  </a:cubicBezTo>
                  <a:cubicBezTo>
                    <a:pt x="659" y="31"/>
                    <a:pt x="665" y="39"/>
                    <a:pt x="667" y="41"/>
                  </a:cubicBezTo>
                  <a:cubicBezTo>
                    <a:pt x="669" y="43"/>
                    <a:pt x="669" y="68"/>
                    <a:pt x="675" y="69"/>
                  </a:cubicBezTo>
                  <a:cubicBezTo>
                    <a:pt x="681" y="71"/>
                    <a:pt x="689" y="73"/>
                    <a:pt x="693" y="72"/>
                  </a:cubicBezTo>
                  <a:cubicBezTo>
                    <a:pt x="698" y="71"/>
                    <a:pt x="715" y="66"/>
                    <a:pt x="718" y="63"/>
                  </a:cubicBezTo>
                  <a:cubicBezTo>
                    <a:pt x="721" y="59"/>
                    <a:pt x="721" y="53"/>
                    <a:pt x="724" y="52"/>
                  </a:cubicBezTo>
                  <a:cubicBezTo>
                    <a:pt x="727" y="51"/>
                    <a:pt x="751" y="69"/>
                    <a:pt x="751" y="73"/>
                  </a:cubicBezTo>
                  <a:cubicBezTo>
                    <a:pt x="751" y="78"/>
                    <a:pt x="738" y="103"/>
                    <a:pt x="738" y="113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2" name="Freeform 191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239134" y="3252499"/>
              <a:ext cx="740805" cy="463682"/>
            </a:xfrm>
            <a:custGeom>
              <a:avLst/>
              <a:gdLst>
                <a:gd name="T0" fmla="*/ 234 w 236"/>
                <a:gd name="T1" fmla="*/ 21 h 148"/>
                <a:gd name="T2" fmla="*/ 234 w 236"/>
                <a:gd name="T3" fmla="*/ 35 h 148"/>
                <a:gd name="T4" fmla="*/ 226 w 236"/>
                <a:gd name="T5" fmla="*/ 43 h 148"/>
                <a:gd name="T6" fmla="*/ 218 w 236"/>
                <a:gd name="T7" fmla="*/ 38 h 148"/>
                <a:gd name="T8" fmla="*/ 196 w 236"/>
                <a:gd name="T9" fmla="*/ 51 h 148"/>
                <a:gd name="T10" fmla="*/ 182 w 236"/>
                <a:gd name="T11" fmla="*/ 64 h 148"/>
                <a:gd name="T12" fmla="*/ 177 w 236"/>
                <a:gd name="T13" fmla="*/ 76 h 148"/>
                <a:gd name="T14" fmla="*/ 155 w 236"/>
                <a:gd name="T15" fmla="*/ 97 h 148"/>
                <a:gd name="T16" fmla="*/ 140 w 236"/>
                <a:gd name="T17" fmla="*/ 119 h 148"/>
                <a:gd name="T18" fmla="*/ 129 w 236"/>
                <a:gd name="T19" fmla="*/ 119 h 148"/>
                <a:gd name="T20" fmla="*/ 120 w 236"/>
                <a:gd name="T21" fmla="*/ 146 h 148"/>
                <a:gd name="T22" fmla="*/ 107 w 236"/>
                <a:gd name="T23" fmla="*/ 147 h 148"/>
                <a:gd name="T24" fmla="*/ 102 w 236"/>
                <a:gd name="T25" fmla="*/ 135 h 148"/>
                <a:gd name="T26" fmla="*/ 84 w 236"/>
                <a:gd name="T27" fmla="*/ 137 h 148"/>
                <a:gd name="T28" fmla="*/ 74 w 236"/>
                <a:gd name="T29" fmla="*/ 127 h 148"/>
                <a:gd name="T30" fmla="*/ 59 w 236"/>
                <a:gd name="T31" fmla="*/ 130 h 148"/>
                <a:gd name="T32" fmla="*/ 57 w 236"/>
                <a:gd name="T33" fmla="*/ 142 h 148"/>
                <a:gd name="T34" fmla="*/ 56 w 236"/>
                <a:gd name="T35" fmla="*/ 144 h 148"/>
                <a:gd name="T36" fmla="*/ 45 w 236"/>
                <a:gd name="T37" fmla="*/ 146 h 148"/>
                <a:gd name="T38" fmla="*/ 30 w 236"/>
                <a:gd name="T39" fmla="*/ 147 h 148"/>
                <a:gd name="T40" fmla="*/ 4 w 236"/>
                <a:gd name="T41" fmla="*/ 128 h 148"/>
                <a:gd name="T42" fmla="*/ 36 w 236"/>
                <a:gd name="T43" fmla="*/ 97 h 148"/>
                <a:gd name="T44" fmla="*/ 18 w 236"/>
                <a:gd name="T45" fmla="*/ 91 h 148"/>
                <a:gd name="T46" fmla="*/ 17 w 236"/>
                <a:gd name="T47" fmla="*/ 85 h 148"/>
                <a:gd name="T48" fmla="*/ 20 w 236"/>
                <a:gd name="T49" fmla="*/ 63 h 148"/>
                <a:gd name="T50" fmla="*/ 41 w 236"/>
                <a:gd name="T51" fmla="*/ 35 h 148"/>
                <a:gd name="T52" fmla="*/ 56 w 236"/>
                <a:gd name="T53" fmla="*/ 21 h 148"/>
                <a:gd name="T54" fmla="*/ 77 w 236"/>
                <a:gd name="T55" fmla="*/ 17 h 148"/>
                <a:gd name="T56" fmla="*/ 86 w 236"/>
                <a:gd name="T57" fmla="*/ 0 h 148"/>
                <a:gd name="T58" fmla="*/ 93 w 236"/>
                <a:gd name="T59" fmla="*/ 4 h 148"/>
                <a:gd name="T60" fmla="*/ 117 w 236"/>
                <a:gd name="T61" fmla="*/ 2 h 148"/>
                <a:gd name="T62" fmla="*/ 123 w 236"/>
                <a:gd name="T63" fmla="*/ 13 h 148"/>
                <a:gd name="T64" fmla="*/ 126 w 236"/>
                <a:gd name="T65" fmla="*/ 36 h 148"/>
                <a:gd name="T66" fmla="*/ 149 w 236"/>
                <a:gd name="T67" fmla="*/ 40 h 148"/>
                <a:gd name="T68" fmla="*/ 159 w 236"/>
                <a:gd name="T69" fmla="*/ 22 h 148"/>
                <a:gd name="T70" fmla="*/ 177 w 236"/>
                <a:gd name="T71" fmla="*/ 8 h 148"/>
                <a:gd name="T72" fmla="*/ 197 w 236"/>
                <a:gd name="T73" fmla="*/ 19 h 148"/>
                <a:gd name="T74" fmla="*/ 234 w 236"/>
                <a:gd name="T75" fmla="*/ 2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6" h="148">
                  <a:moveTo>
                    <a:pt x="234" y="21"/>
                  </a:moveTo>
                  <a:cubicBezTo>
                    <a:pt x="236" y="24"/>
                    <a:pt x="234" y="33"/>
                    <a:pt x="234" y="35"/>
                  </a:cubicBezTo>
                  <a:cubicBezTo>
                    <a:pt x="234" y="38"/>
                    <a:pt x="231" y="41"/>
                    <a:pt x="226" y="43"/>
                  </a:cubicBezTo>
                  <a:cubicBezTo>
                    <a:pt x="221" y="46"/>
                    <a:pt x="223" y="36"/>
                    <a:pt x="218" y="38"/>
                  </a:cubicBezTo>
                  <a:cubicBezTo>
                    <a:pt x="213" y="40"/>
                    <a:pt x="202" y="47"/>
                    <a:pt x="196" y="51"/>
                  </a:cubicBezTo>
                  <a:cubicBezTo>
                    <a:pt x="190" y="54"/>
                    <a:pt x="185" y="61"/>
                    <a:pt x="182" y="64"/>
                  </a:cubicBezTo>
                  <a:cubicBezTo>
                    <a:pt x="179" y="67"/>
                    <a:pt x="185" y="75"/>
                    <a:pt x="177" y="76"/>
                  </a:cubicBezTo>
                  <a:cubicBezTo>
                    <a:pt x="170" y="77"/>
                    <a:pt x="160" y="93"/>
                    <a:pt x="155" y="97"/>
                  </a:cubicBezTo>
                  <a:cubicBezTo>
                    <a:pt x="152" y="101"/>
                    <a:pt x="142" y="113"/>
                    <a:pt x="140" y="119"/>
                  </a:cubicBezTo>
                  <a:cubicBezTo>
                    <a:pt x="129" y="119"/>
                    <a:pt x="129" y="119"/>
                    <a:pt x="129" y="119"/>
                  </a:cubicBezTo>
                  <a:cubicBezTo>
                    <a:pt x="124" y="119"/>
                    <a:pt x="124" y="146"/>
                    <a:pt x="120" y="146"/>
                  </a:cubicBezTo>
                  <a:cubicBezTo>
                    <a:pt x="116" y="146"/>
                    <a:pt x="110" y="147"/>
                    <a:pt x="107" y="147"/>
                  </a:cubicBezTo>
                  <a:cubicBezTo>
                    <a:pt x="104" y="146"/>
                    <a:pt x="107" y="135"/>
                    <a:pt x="102" y="135"/>
                  </a:cubicBezTo>
                  <a:cubicBezTo>
                    <a:pt x="98" y="135"/>
                    <a:pt x="87" y="136"/>
                    <a:pt x="84" y="137"/>
                  </a:cubicBezTo>
                  <a:cubicBezTo>
                    <a:pt x="82" y="139"/>
                    <a:pt x="76" y="126"/>
                    <a:pt x="74" y="127"/>
                  </a:cubicBezTo>
                  <a:cubicBezTo>
                    <a:pt x="71" y="127"/>
                    <a:pt x="61" y="130"/>
                    <a:pt x="59" y="130"/>
                  </a:cubicBezTo>
                  <a:cubicBezTo>
                    <a:pt x="57" y="130"/>
                    <a:pt x="58" y="138"/>
                    <a:pt x="57" y="142"/>
                  </a:cubicBezTo>
                  <a:cubicBezTo>
                    <a:pt x="57" y="143"/>
                    <a:pt x="57" y="144"/>
                    <a:pt x="56" y="144"/>
                  </a:cubicBezTo>
                  <a:cubicBezTo>
                    <a:pt x="55" y="144"/>
                    <a:pt x="50" y="145"/>
                    <a:pt x="45" y="146"/>
                  </a:cubicBezTo>
                  <a:cubicBezTo>
                    <a:pt x="39" y="147"/>
                    <a:pt x="32" y="148"/>
                    <a:pt x="30" y="147"/>
                  </a:cubicBezTo>
                  <a:cubicBezTo>
                    <a:pt x="24" y="147"/>
                    <a:pt x="8" y="133"/>
                    <a:pt x="4" y="128"/>
                  </a:cubicBezTo>
                  <a:cubicBezTo>
                    <a:pt x="0" y="123"/>
                    <a:pt x="34" y="99"/>
                    <a:pt x="36" y="97"/>
                  </a:cubicBezTo>
                  <a:cubicBezTo>
                    <a:pt x="38" y="94"/>
                    <a:pt x="18" y="94"/>
                    <a:pt x="18" y="91"/>
                  </a:cubicBezTo>
                  <a:cubicBezTo>
                    <a:pt x="18" y="90"/>
                    <a:pt x="17" y="88"/>
                    <a:pt x="17" y="85"/>
                  </a:cubicBezTo>
                  <a:cubicBezTo>
                    <a:pt x="15" y="79"/>
                    <a:pt x="14" y="69"/>
                    <a:pt x="20" y="63"/>
                  </a:cubicBezTo>
                  <a:cubicBezTo>
                    <a:pt x="29" y="56"/>
                    <a:pt x="38" y="39"/>
                    <a:pt x="41" y="35"/>
                  </a:cubicBezTo>
                  <a:cubicBezTo>
                    <a:pt x="44" y="32"/>
                    <a:pt x="54" y="24"/>
                    <a:pt x="56" y="21"/>
                  </a:cubicBezTo>
                  <a:cubicBezTo>
                    <a:pt x="58" y="19"/>
                    <a:pt x="74" y="21"/>
                    <a:pt x="77" y="17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9" y="2"/>
                    <a:pt x="92" y="3"/>
                    <a:pt x="93" y="4"/>
                  </a:cubicBezTo>
                  <a:cubicBezTo>
                    <a:pt x="99" y="6"/>
                    <a:pt x="113" y="0"/>
                    <a:pt x="117" y="2"/>
                  </a:cubicBezTo>
                  <a:cubicBezTo>
                    <a:pt x="121" y="4"/>
                    <a:pt x="123" y="9"/>
                    <a:pt x="123" y="13"/>
                  </a:cubicBezTo>
                  <a:cubicBezTo>
                    <a:pt x="123" y="18"/>
                    <a:pt x="121" y="30"/>
                    <a:pt x="126" y="36"/>
                  </a:cubicBezTo>
                  <a:cubicBezTo>
                    <a:pt x="131" y="42"/>
                    <a:pt x="145" y="40"/>
                    <a:pt x="149" y="40"/>
                  </a:cubicBezTo>
                  <a:cubicBezTo>
                    <a:pt x="153" y="40"/>
                    <a:pt x="155" y="26"/>
                    <a:pt x="159" y="22"/>
                  </a:cubicBezTo>
                  <a:cubicBezTo>
                    <a:pt x="163" y="19"/>
                    <a:pt x="173" y="9"/>
                    <a:pt x="177" y="8"/>
                  </a:cubicBezTo>
                  <a:cubicBezTo>
                    <a:pt x="182" y="7"/>
                    <a:pt x="192" y="17"/>
                    <a:pt x="197" y="19"/>
                  </a:cubicBezTo>
                  <a:cubicBezTo>
                    <a:pt x="203" y="21"/>
                    <a:pt x="232" y="17"/>
                    <a:pt x="234" y="21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3" name="Freeform 19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412336" y="4449302"/>
              <a:ext cx="484131" cy="578559"/>
            </a:xfrm>
            <a:custGeom>
              <a:avLst/>
              <a:gdLst>
                <a:gd name="T0" fmla="*/ 142 w 154"/>
                <a:gd name="T1" fmla="*/ 28 h 184"/>
                <a:gd name="T2" fmla="*/ 154 w 154"/>
                <a:gd name="T3" fmla="*/ 36 h 184"/>
                <a:gd name="T4" fmla="*/ 152 w 154"/>
                <a:gd name="T5" fmla="*/ 38 h 184"/>
                <a:gd name="T6" fmla="*/ 144 w 154"/>
                <a:gd name="T7" fmla="*/ 52 h 184"/>
                <a:gd name="T8" fmla="*/ 132 w 154"/>
                <a:gd name="T9" fmla="*/ 51 h 184"/>
                <a:gd name="T10" fmla="*/ 123 w 154"/>
                <a:gd name="T11" fmla="*/ 59 h 184"/>
                <a:gd name="T12" fmla="*/ 135 w 154"/>
                <a:gd name="T13" fmla="*/ 69 h 184"/>
                <a:gd name="T14" fmla="*/ 128 w 154"/>
                <a:gd name="T15" fmla="*/ 84 h 184"/>
                <a:gd name="T16" fmla="*/ 130 w 154"/>
                <a:gd name="T17" fmla="*/ 95 h 184"/>
                <a:gd name="T18" fmla="*/ 138 w 154"/>
                <a:gd name="T19" fmla="*/ 99 h 184"/>
                <a:gd name="T20" fmla="*/ 132 w 154"/>
                <a:gd name="T21" fmla="*/ 109 h 184"/>
                <a:gd name="T22" fmla="*/ 123 w 154"/>
                <a:gd name="T23" fmla="*/ 109 h 184"/>
                <a:gd name="T24" fmla="*/ 116 w 154"/>
                <a:gd name="T25" fmla="*/ 107 h 184"/>
                <a:gd name="T26" fmla="*/ 110 w 154"/>
                <a:gd name="T27" fmla="*/ 129 h 184"/>
                <a:gd name="T28" fmla="*/ 102 w 154"/>
                <a:gd name="T29" fmla="*/ 131 h 184"/>
                <a:gd name="T30" fmla="*/ 94 w 154"/>
                <a:gd name="T31" fmla="*/ 142 h 184"/>
                <a:gd name="T32" fmla="*/ 80 w 154"/>
                <a:gd name="T33" fmla="*/ 139 h 184"/>
                <a:gd name="T34" fmla="*/ 76 w 154"/>
                <a:gd name="T35" fmla="*/ 148 h 184"/>
                <a:gd name="T36" fmla="*/ 82 w 154"/>
                <a:gd name="T37" fmla="*/ 154 h 184"/>
                <a:gd name="T38" fmla="*/ 66 w 154"/>
                <a:gd name="T39" fmla="*/ 169 h 184"/>
                <a:gd name="T40" fmla="*/ 52 w 154"/>
                <a:gd name="T41" fmla="*/ 183 h 184"/>
                <a:gd name="T42" fmla="*/ 42 w 154"/>
                <a:gd name="T43" fmla="*/ 182 h 184"/>
                <a:gd name="T44" fmla="*/ 39 w 154"/>
                <a:gd name="T45" fmla="*/ 169 h 184"/>
                <a:gd name="T46" fmla="*/ 35 w 154"/>
                <a:gd name="T47" fmla="*/ 151 h 184"/>
                <a:gd name="T48" fmla="*/ 4 w 154"/>
                <a:gd name="T49" fmla="*/ 134 h 184"/>
                <a:gd name="T50" fmla="*/ 0 w 154"/>
                <a:gd name="T51" fmla="*/ 121 h 184"/>
                <a:gd name="T52" fmla="*/ 15 w 154"/>
                <a:gd name="T53" fmla="*/ 92 h 184"/>
                <a:gd name="T54" fmla="*/ 21 w 154"/>
                <a:gd name="T55" fmla="*/ 79 h 184"/>
                <a:gd name="T56" fmla="*/ 20 w 154"/>
                <a:gd name="T57" fmla="*/ 61 h 184"/>
                <a:gd name="T58" fmla="*/ 37 w 154"/>
                <a:gd name="T59" fmla="*/ 48 h 184"/>
                <a:gd name="T60" fmla="*/ 37 w 154"/>
                <a:gd name="T61" fmla="*/ 24 h 184"/>
                <a:gd name="T62" fmla="*/ 51 w 154"/>
                <a:gd name="T63" fmla="*/ 12 h 184"/>
                <a:gd name="T64" fmla="*/ 62 w 154"/>
                <a:gd name="T65" fmla="*/ 20 h 184"/>
                <a:gd name="T66" fmla="*/ 82 w 154"/>
                <a:gd name="T67" fmla="*/ 2 h 184"/>
                <a:gd name="T68" fmla="*/ 93 w 154"/>
                <a:gd name="T69" fmla="*/ 2 h 184"/>
                <a:gd name="T70" fmla="*/ 99 w 154"/>
                <a:gd name="T71" fmla="*/ 30 h 184"/>
                <a:gd name="T72" fmla="*/ 114 w 154"/>
                <a:gd name="T73" fmla="*/ 30 h 184"/>
                <a:gd name="T74" fmla="*/ 122 w 154"/>
                <a:gd name="T75" fmla="*/ 20 h 184"/>
                <a:gd name="T76" fmla="*/ 133 w 154"/>
                <a:gd name="T77" fmla="*/ 30 h 184"/>
                <a:gd name="T78" fmla="*/ 142 w 154"/>
                <a:gd name="T79" fmla="*/ 2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" h="184">
                  <a:moveTo>
                    <a:pt x="142" y="28"/>
                  </a:moveTo>
                  <a:cubicBezTo>
                    <a:pt x="154" y="36"/>
                    <a:pt x="154" y="36"/>
                    <a:pt x="154" y="36"/>
                  </a:cubicBezTo>
                  <a:cubicBezTo>
                    <a:pt x="153" y="37"/>
                    <a:pt x="153" y="38"/>
                    <a:pt x="152" y="38"/>
                  </a:cubicBezTo>
                  <a:cubicBezTo>
                    <a:pt x="150" y="40"/>
                    <a:pt x="147" y="51"/>
                    <a:pt x="144" y="52"/>
                  </a:cubicBezTo>
                  <a:cubicBezTo>
                    <a:pt x="142" y="52"/>
                    <a:pt x="137" y="51"/>
                    <a:pt x="132" y="51"/>
                  </a:cubicBezTo>
                  <a:cubicBezTo>
                    <a:pt x="129" y="50"/>
                    <a:pt x="123" y="58"/>
                    <a:pt x="123" y="59"/>
                  </a:cubicBezTo>
                  <a:cubicBezTo>
                    <a:pt x="122" y="60"/>
                    <a:pt x="136" y="67"/>
                    <a:pt x="135" y="69"/>
                  </a:cubicBezTo>
                  <a:cubicBezTo>
                    <a:pt x="131" y="77"/>
                    <a:pt x="128" y="83"/>
                    <a:pt x="128" y="84"/>
                  </a:cubicBezTo>
                  <a:cubicBezTo>
                    <a:pt x="128" y="88"/>
                    <a:pt x="128" y="93"/>
                    <a:pt x="130" y="95"/>
                  </a:cubicBezTo>
                  <a:cubicBezTo>
                    <a:pt x="132" y="98"/>
                    <a:pt x="135" y="95"/>
                    <a:pt x="138" y="99"/>
                  </a:cubicBezTo>
                  <a:cubicBezTo>
                    <a:pt x="142" y="103"/>
                    <a:pt x="134" y="106"/>
                    <a:pt x="132" y="109"/>
                  </a:cubicBezTo>
                  <a:cubicBezTo>
                    <a:pt x="130" y="112"/>
                    <a:pt x="126" y="112"/>
                    <a:pt x="123" y="109"/>
                  </a:cubicBezTo>
                  <a:cubicBezTo>
                    <a:pt x="120" y="107"/>
                    <a:pt x="120" y="105"/>
                    <a:pt x="116" y="107"/>
                  </a:cubicBezTo>
                  <a:cubicBezTo>
                    <a:pt x="113" y="108"/>
                    <a:pt x="111" y="127"/>
                    <a:pt x="110" y="129"/>
                  </a:cubicBezTo>
                  <a:cubicBezTo>
                    <a:pt x="109" y="131"/>
                    <a:pt x="105" y="131"/>
                    <a:pt x="102" y="131"/>
                  </a:cubicBezTo>
                  <a:cubicBezTo>
                    <a:pt x="100" y="132"/>
                    <a:pt x="98" y="142"/>
                    <a:pt x="94" y="142"/>
                  </a:cubicBezTo>
                  <a:cubicBezTo>
                    <a:pt x="90" y="143"/>
                    <a:pt x="82" y="139"/>
                    <a:pt x="80" y="139"/>
                  </a:cubicBezTo>
                  <a:cubicBezTo>
                    <a:pt x="78" y="139"/>
                    <a:pt x="79" y="146"/>
                    <a:pt x="76" y="148"/>
                  </a:cubicBezTo>
                  <a:cubicBezTo>
                    <a:pt x="74" y="151"/>
                    <a:pt x="84" y="152"/>
                    <a:pt x="82" y="154"/>
                  </a:cubicBezTo>
                  <a:cubicBezTo>
                    <a:pt x="79" y="156"/>
                    <a:pt x="70" y="166"/>
                    <a:pt x="66" y="169"/>
                  </a:cubicBezTo>
                  <a:cubicBezTo>
                    <a:pt x="62" y="172"/>
                    <a:pt x="54" y="181"/>
                    <a:pt x="52" y="183"/>
                  </a:cubicBezTo>
                  <a:cubicBezTo>
                    <a:pt x="49" y="184"/>
                    <a:pt x="45" y="182"/>
                    <a:pt x="42" y="182"/>
                  </a:cubicBezTo>
                  <a:cubicBezTo>
                    <a:pt x="39" y="169"/>
                    <a:pt x="39" y="169"/>
                    <a:pt x="39" y="169"/>
                  </a:cubicBezTo>
                  <a:cubicBezTo>
                    <a:pt x="37" y="163"/>
                    <a:pt x="41" y="160"/>
                    <a:pt x="35" y="151"/>
                  </a:cubicBezTo>
                  <a:cubicBezTo>
                    <a:pt x="30" y="142"/>
                    <a:pt x="10" y="134"/>
                    <a:pt x="4" y="134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15"/>
                    <a:pt x="11" y="97"/>
                    <a:pt x="15" y="92"/>
                  </a:cubicBezTo>
                  <a:cubicBezTo>
                    <a:pt x="19" y="86"/>
                    <a:pt x="21" y="82"/>
                    <a:pt x="21" y="79"/>
                  </a:cubicBezTo>
                  <a:cubicBezTo>
                    <a:pt x="21" y="76"/>
                    <a:pt x="15" y="66"/>
                    <a:pt x="20" y="61"/>
                  </a:cubicBezTo>
                  <a:cubicBezTo>
                    <a:pt x="25" y="56"/>
                    <a:pt x="35" y="56"/>
                    <a:pt x="37" y="48"/>
                  </a:cubicBezTo>
                  <a:cubicBezTo>
                    <a:pt x="40" y="41"/>
                    <a:pt x="33" y="29"/>
                    <a:pt x="37" y="24"/>
                  </a:cubicBezTo>
                  <a:cubicBezTo>
                    <a:pt x="40" y="20"/>
                    <a:pt x="49" y="14"/>
                    <a:pt x="51" y="12"/>
                  </a:cubicBezTo>
                  <a:cubicBezTo>
                    <a:pt x="53" y="11"/>
                    <a:pt x="59" y="23"/>
                    <a:pt x="62" y="20"/>
                  </a:cubicBezTo>
                  <a:cubicBezTo>
                    <a:pt x="65" y="18"/>
                    <a:pt x="79" y="4"/>
                    <a:pt x="82" y="2"/>
                  </a:cubicBezTo>
                  <a:cubicBezTo>
                    <a:pt x="85" y="0"/>
                    <a:pt x="91" y="2"/>
                    <a:pt x="93" y="2"/>
                  </a:cubicBezTo>
                  <a:cubicBezTo>
                    <a:pt x="96" y="2"/>
                    <a:pt x="95" y="30"/>
                    <a:pt x="99" y="30"/>
                  </a:cubicBezTo>
                  <a:cubicBezTo>
                    <a:pt x="103" y="30"/>
                    <a:pt x="113" y="33"/>
                    <a:pt x="114" y="30"/>
                  </a:cubicBezTo>
                  <a:cubicBezTo>
                    <a:pt x="115" y="26"/>
                    <a:pt x="117" y="20"/>
                    <a:pt x="122" y="20"/>
                  </a:cubicBezTo>
                  <a:cubicBezTo>
                    <a:pt x="127" y="20"/>
                    <a:pt x="127" y="30"/>
                    <a:pt x="133" y="30"/>
                  </a:cubicBezTo>
                  <a:cubicBezTo>
                    <a:pt x="138" y="30"/>
                    <a:pt x="139" y="28"/>
                    <a:pt x="142" y="28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4" name="Freeform 193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260001" y="3697384"/>
              <a:ext cx="500825" cy="626598"/>
            </a:xfrm>
            <a:custGeom>
              <a:avLst/>
              <a:gdLst>
                <a:gd name="T0" fmla="*/ 146 w 160"/>
                <a:gd name="T1" fmla="*/ 123 h 199"/>
                <a:gd name="T2" fmla="*/ 160 w 160"/>
                <a:gd name="T3" fmla="*/ 127 h 199"/>
                <a:gd name="T4" fmla="*/ 154 w 160"/>
                <a:gd name="T5" fmla="*/ 156 h 199"/>
                <a:gd name="T6" fmla="*/ 136 w 160"/>
                <a:gd name="T7" fmla="*/ 159 h 199"/>
                <a:gd name="T8" fmla="*/ 137 w 160"/>
                <a:gd name="T9" fmla="*/ 177 h 199"/>
                <a:gd name="T10" fmla="*/ 127 w 160"/>
                <a:gd name="T11" fmla="*/ 192 h 199"/>
                <a:gd name="T12" fmla="*/ 120 w 160"/>
                <a:gd name="T13" fmla="*/ 199 h 199"/>
                <a:gd name="T14" fmla="*/ 111 w 160"/>
                <a:gd name="T15" fmla="*/ 189 h 199"/>
                <a:gd name="T16" fmla="*/ 100 w 160"/>
                <a:gd name="T17" fmla="*/ 184 h 199"/>
                <a:gd name="T18" fmla="*/ 73 w 160"/>
                <a:gd name="T19" fmla="*/ 195 h 199"/>
                <a:gd name="T20" fmla="*/ 73 w 160"/>
                <a:gd name="T21" fmla="*/ 179 h 199"/>
                <a:gd name="T22" fmla="*/ 60 w 160"/>
                <a:gd name="T23" fmla="*/ 175 h 199"/>
                <a:gd name="T24" fmla="*/ 52 w 160"/>
                <a:gd name="T25" fmla="*/ 181 h 199"/>
                <a:gd name="T26" fmla="*/ 38 w 160"/>
                <a:gd name="T27" fmla="*/ 157 h 199"/>
                <a:gd name="T28" fmla="*/ 40 w 160"/>
                <a:gd name="T29" fmla="*/ 138 h 199"/>
                <a:gd name="T30" fmla="*/ 18 w 160"/>
                <a:gd name="T31" fmla="*/ 130 h 199"/>
                <a:gd name="T32" fmla="*/ 18 w 160"/>
                <a:gd name="T33" fmla="*/ 130 h 199"/>
                <a:gd name="T34" fmla="*/ 23 w 160"/>
                <a:gd name="T35" fmla="*/ 115 h 199"/>
                <a:gd name="T36" fmla="*/ 37 w 160"/>
                <a:gd name="T37" fmla="*/ 111 h 199"/>
                <a:gd name="T38" fmla="*/ 35 w 160"/>
                <a:gd name="T39" fmla="*/ 82 h 199"/>
                <a:gd name="T40" fmla="*/ 18 w 160"/>
                <a:gd name="T41" fmla="*/ 84 h 199"/>
                <a:gd name="T42" fmla="*/ 2 w 160"/>
                <a:gd name="T43" fmla="*/ 65 h 199"/>
                <a:gd name="T44" fmla="*/ 16 w 160"/>
                <a:gd name="T45" fmla="*/ 57 h 199"/>
                <a:gd name="T46" fmla="*/ 18 w 160"/>
                <a:gd name="T47" fmla="*/ 43 h 199"/>
                <a:gd name="T48" fmla="*/ 28 w 160"/>
                <a:gd name="T49" fmla="*/ 40 h 199"/>
                <a:gd name="T50" fmla="*/ 28 w 160"/>
                <a:gd name="T51" fmla="*/ 25 h 199"/>
                <a:gd name="T52" fmla="*/ 45 w 160"/>
                <a:gd name="T53" fmla="*/ 35 h 199"/>
                <a:gd name="T54" fmla="*/ 55 w 160"/>
                <a:gd name="T55" fmla="*/ 27 h 199"/>
                <a:gd name="T56" fmla="*/ 52 w 160"/>
                <a:gd name="T57" fmla="*/ 17 h 199"/>
                <a:gd name="T58" fmla="*/ 39 w 160"/>
                <a:gd name="T59" fmla="*/ 4 h 199"/>
                <a:gd name="T60" fmla="*/ 50 w 160"/>
                <a:gd name="T61" fmla="*/ 2 h 199"/>
                <a:gd name="T62" fmla="*/ 51 w 160"/>
                <a:gd name="T63" fmla="*/ 0 h 199"/>
                <a:gd name="T64" fmla="*/ 51 w 160"/>
                <a:gd name="T65" fmla="*/ 0 h 199"/>
                <a:gd name="T66" fmla="*/ 83 w 160"/>
                <a:gd name="T67" fmla="*/ 18 h 199"/>
                <a:gd name="T68" fmla="*/ 88 w 160"/>
                <a:gd name="T69" fmla="*/ 31 h 199"/>
                <a:gd name="T70" fmla="*/ 106 w 160"/>
                <a:gd name="T71" fmla="*/ 35 h 199"/>
                <a:gd name="T72" fmla="*/ 106 w 160"/>
                <a:gd name="T73" fmla="*/ 55 h 199"/>
                <a:gd name="T74" fmla="*/ 116 w 160"/>
                <a:gd name="T75" fmla="*/ 65 h 199"/>
                <a:gd name="T76" fmla="*/ 127 w 160"/>
                <a:gd name="T77" fmla="*/ 56 h 199"/>
                <a:gd name="T78" fmla="*/ 140 w 160"/>
                <a:gd name="T79" fmla="*/ 75 h 199"/>
                <a:gd name="T80" fmla="*/ 124 w 160"/>
                <a:gd name="T81" fmla="*/ 78 h 199"/>
                <a:gd name="T82" fmla="*/ 127 w 160"/>
                <a:gd name="T83" fmla="*/ 88 h 199"/>
                <a:gd name="T84" fmla="*/ 118 w 160"/>
                <a:gd name="T85" fmla="*/ 97 h 199"/>
                <a:gd name="T86" fmla="*/ 132 w 160"/>
                <a:gd name="T87" fmla="*/ 124 h 199"/>
                <a:gd name="T88" fmla="*/ 146 w 160"/>
                <a:gd name="T89" fmla="*/ 12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0" h="199">
                  <a:moveTo>
                    <a:pt x="146" y="123"/>
                  </a:moveTo>
                  <a:cubicBezTo>
                    <a:pt x="160" y="127"/>
                    <a:pt x="160" y="127"/>
                    <a:pt x="160" y="127"/>
                  </a:cubicBezTo>
                  <a:cubicBezTo>
                    <a:pt x="157" y="130"/>
                    <a:pt x="156" y="152"/>
                    <a:pt x="154" y="156"/>
                  </a:cubicBezTo>
                  <a:cubicBezTo>
                    <a:pt x="152" y="160"/>
                    <a:pt x="140" y="155"/>
                    <a:pt x="136" y="159"/>
                  </a:cubicBezTo>
                  <a:cubicBezTo>
                    <a:pt x="132" y="162"/>
                    <a:pt x="138" y="173"/>
                    <a:pt x="137" y="177"/>
                  </a:cubicBezTo>
                  <a:cubicBezTo>
                    <a:pt x="136" y="181"/>
                    <a:pt x="133" y="187"/>
                    <a:pt x="127" y="192"/>
                  </a:cubicBezTo>
                  <a:cubicBezTo>
                    <a:pt x="124" y="194"/>
                    <a:pt x="122" y="196"/>
                    <a:pt x="120" y="199"/>
                  </a:cubicBezTo>
                  <a:cubicBezTo>
                    <a:pt x="111" y="189"/>
                    <a:pt x="111" y="189"/>
                    <a:pt x="111" y="189"/>
                  </a:cubicBezTo>
                  <a:cubicBezTo>
                    <a:pt x="106" y="186"/>
                    <a:pt x="102" y="183"/>
                    <a:pt x="100" y="184"/>
                  </a:cubicBezTo>
                  <a:cubicBezTo>
                    <a:pt x="98" y="185"/>
                    <a:pt x="78" y="194"/>
                    <a:pt x="73" y="195"/>
                  </a:cubicBezTo>
                  <a:cubicBezTo>
                    <a:pt x="68" y="195"/>
                    <a:pt x="76" y="181"/>
                    <a:pt x="73" y="179"/>
                  </a:cubicBezTo>
                  <a:cubicBezTo>
                    <a:pt x="70" y="178"/>
                    <a:pt x="66" y="175"/>
                    <a:pt x="60" y="175"/>
                  </a:cubicBezTo>
                  <a:cubicBezTo>
                    <a:pt x="58" y="175"/>
                    <a:pt x="55" y="178"/>
                    <a:pt x="52" y="181"/>
                  </a:cubicBezTo>
                  <a:cubicBezTo>
                    <a:pt x="38" y="157"/>
                    <a:pt x="38" y="157"/>
                    <a:pt x="38" y="157"/>
                  </a:cubicBezTo>
                  <a:cubicBezTo>
                    <a:pt x="36" y="153"/>
                    <a:pt x="45" y="139"/>
                    <a:pt x="40" y="138"/>
                  </a:cubicBezTo>
                  <a:cubicBezTo>
                    <a:pt x="38" y="137"/>
                    <a:pt x="29" y="134"/>
                    <a:pt x="18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29" y="113"/>
                    <a:pt x="33" y="111"/>
                    <a:pt x="37" y="111"/>
                  </a:cubicBezTo>
                  <a:cubicBezTo>
                    <a:pt x="41" y="111"/>
                    <a:pt x="35" y="85"/>
                    <a:pt x="35" y="82"/>
                  </a:cubicBezTo>
                  <a:cubicBezTo>
                    <a:pt x="35" y="79"/>
                    <a:pt x="22" y="85"/>
                    <a:pt x="18" y="84"/>
                  </a:cubicBezTo>
                  <a:cubicBezTo>
                    <a:pt x="14" y="83"/>
                    <a:pt x="4" y="69"/>
                    <a:pt x="2" y="65"/>
                  </a:cubicBezTo>
                  <a:cubicBezTo>
                    <a:pt x="0" y="62"/>
                    <a:pt x="13" y="57"/>
                    <a:pt x="16" y="57"/>
                  </a:cubicBezTo>
                  <a:cubicBezTo>
                    <a:pt x="18" y="57"/>
                    <a:pt x="16" y="43"/>
                    <a:pt x="18" y="43"/>
                  </a:cubicBezTo>
                  <a:cubicBezTo>
                    <a:pt x="20" y="42"/>
                    <a:pt x="26" y="41"/>
                    <a:pt x="28" y="40"/>
                  </a:cubicBezTo>
                  <a:cubicBezTo>
                    <a:pt x="30" y="39"/>
                    <a:pt x="17" y="28"/>
                    <a:pt x="28" y="25"/>
                  </a:cubicBezTo>
                  <a:cubicBezTo>
                    <a:pt x="35" y="22"/>
                    <a:pt x="42" y="36"/>
                    <a:pt x="45" y="35"/>
                  </a:cubicBezTo>
                  <a:cubicBezTo>
                    <a:pt x="48" y="35"/>
                    <a:pt x="55" y="27"/>
                    <a:pt x="55" y="27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4" y="3"/>
                    <a:pt x="49" y="2"/>
                    <a:pt x="50" y="2"/>
                  </a:cubicBezTo>
                  <a:cubicBezTo>
                    <a:pt x="51" y="2"/>
                    <a:pt x="51" y="1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2"/>
                    <a:pt x="78" y="16"/>
                    <a:pt x="83" y="18"/>
                  </a:cubicBezTo>
                  <a:cubicBezTo>
                    <a:pt x="88" y="20"/>
                    <a:pt x="86" y="28"/>
                    <a:pt x="88" y="31"/>
                  </a:cubicBezTo>
                  <a:cubicBezTo>
                    <a:pt x="90" y="33"/>
                    <a:pt x="106" y="30"/>
                    <a:pt x="106" y="35"/>
                  </a:cubicBezTo>
                  <a:cubicBezTo>
                    <a:pt x="106" y="39"/>
                    <a:pt x="104" y="49"/>
                    <a:pt x="106" y="55"/>
                  </a:cubicBezTo>
                  <a:cubicBezTo>
                    <a:pt x="107" y="61"/>
                    <a:pt x="110" y="65"/>
                    <a:pt x="116" y="65"/>
                  </a:cubicBezTo>
                  <a:cubicBezTo>
                    <a:pt x="122" y="65"/>
                    <a:pt x="121" y="61"/>
                    <a:pt x="127" y="56"/>
                  </a:cubicBezTo>
                  <a:cubicBezTo>
                    <a:pt x="133" y="51"/>
                    <a:pt x="142" y="72"/>
                    <a:pt x="140" y="75"/>
                  </a:cubicBezTo>
                  <a:cubicBezTo>
                    <a:pt x="138" y="77"/>
                    <a:pt x="127" y="76"/>
                    <a:pt x="124" y="78"/>
                  </a:cubicBezTo>
                  <a:cubicBezTo>
                    <a:pt x="122" y="80"/>
                    <a:pt x="128" y="85"/>
                    <a:pt x="127" y="88"/>
                  </a:cubicBezTo>
                  <a:cubicBezTo>
                    <a:pt x="126" y="91"/>
                    <a:pt x="118" y="93"/>
                    <a:pt x="118" y="97"/>
                  </a:cubicBezTo>
                  <a:cubicBezTo>
                    <a:pt x="117" y="100"/>
                    <a:pt x="128" y="120"/>
                    <a:pt x="132" y="124"/>
                  </a:cubicBezTo>
                  <a:cubicBezTo>
                    <a:pt x="135" y="128"/>
                    <a:pt x="141" y="123"/>
                    <a:pt x="146" y="123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5" name="Freeform 194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145228" y="4248790"/>
              <a:ext cx="523781" cy="697613"/>
            </a:xfrm>
            <a:custGeom>
              <a:avLst/>
              <a:gdLst>
                <a:gd name="T0" fmla="*/ 165 w 167"/>
                <a:gd name="T1" fmla="*/ 52 h 222"/>
                <a:gd name="T2" fmla="*/ 167 w 167"/>
                <a:gd name="T3" fmla="*/ 66 h 222"/>
                <a:gd name="T4" fmla="*/ 147 w 167"/>
                <a:gd name="T5" fmla="*/ 84 h 222"/>
                <a:gd name="T6" fmla="*/ 136 w 167"/>
                <a:gd name="T7" fmla="*/ 76 h 222"/>
                <a:gd name="T8" fmla="*/ 122 w 167"/>
                <a:gd name="T9" fmla="*/ 88 h 222"/>
                <a:gd name="T10" fmla="*/ 122 w 167"/>
                <a:gd name="T11" fmla="*/ 112 h 222"/>
                <a:gd name="T12" fmla="*/ 105 w 167"/>
                <a:gd name="T13" fmla="*/ 125 h 222"/>
                <a:gd name="T14" fmla="*/ 106 w 167"/>
                <a:gd name="T15" fmla="*/ 143 h 222"/>
                <a:gd name="T16" fmla="*/ 100 w 167"/>
                <a:gd name="T17" fmla="*/ 156 h 222"/>
                <a:gd name="T18" fmla="*/ 85 w 167"/>
                <a:gd name="T19" fmla="*/ 185 h 222"/>
                <a:gd name="T20" fmla="*/ 89 w 167"/>
                <a:gd name="T21" fmla="*/ 198 h 222"/>
                <a:gd name="T22" fmla="*/ 80 w 167"/>
                <a:gd name="T23" fmla="*/ 213 h 222"/>
                <a:gd name="T24" fmla="*/ 33 w 167"/>
                <a:gd name="T25" fmla="*/ 218 h 222"/>
                <a:gd name="T26" fmla="*/ 27 w 167"/>
                <a:gd name="T27" fmla="*/ 211 h 222"/>
                <a:gd name="T28" fmla="*/ 47 w 167"/>
                <a:gd name="T29" fmla="*/ 196 h 222"/>
                <a:gd name="T30" fmla="*/ 42 w 167"/>
                <a:gd name="T31" fmla="*/ 183 h 222"/>
                <a:gd name="T32" fmla="*/ 26 w 167"/>
                <a:gd name="T33" fmla="*/ 190 h 222"/>
                <a:gd name="T34" fmla="*/ 15 w 167"/>
                <a:gd name="T35" fmla="*/ 184 h 222"/>
                <a:gd name="T36" fmla="*/ 20 w 167"/>
                <a:gd name="T37" fmla="*/ 169 h 222"/>
                <a:gd name="T38" fmla="*/ 24 w 167"/>
                <a:gd name="T39" fmla="*/ 140 h 222"/>
                <a:gd name="T40" fmla="*/ 12 w 167"/>
                <a:gd name="T41" fmla="*/ 132 h 222"/>
                <a:gd name="T42" fmla="*/ 4 w 167"/>
                <a:gd name="T43" fmla="*/ 110 h 222"/>
                <a:gd name="T44" fmla="*/ 4 w 167"/>
                <a:gd name="T45" fmla="*/ 90 h 222"/>
                <a:gd name="T46" fmla="*/ 23 w 167"/>
                <a:gd name="T47" fmla="*/ 73 h 222"/>
                <a:gd name="T48" fmla="*/ 19 w 167"/>
                <a:gd name="T49" fmla="*/ 53 h 222"/>
                <a:gd name="T50" fmla="*/ 16 w 167"/>
                <a:gd name="T51" fmla="*/ 49 h 222"/>
                <a:gd name="T52" fmla="*/ 26 w 167"/>
                <a:gd name="T53" fmla="*/ 38 h 222"/>
                <a:gd name="T54" fmla="*/ 46 w 167"/>
                <a:gd name="T55" fmla="*/ 27 h 222"/>
                <a:gd name="T56" fmla="*/ 64 w 167"/>
                <a:gd name="T57" fmla="*/ 12 h 222"/>
                <a:gd name="T58" fmla="*/ 83 w 167"/>
                <a:gd name="T59" fmla="*/ 14 h 222"/>
                <a:gd name="T60" fmla="*/ 88 w 167"/>
                <a:gd name="T61" fmla="*/ 6 h 222"/>
                <a:gd name="T62" fmla="*/ 96 w 167"/>
                <a:gd name="T63" fmla="*/ 0 h 222"/>
                <a:gd name="T64" fmla="*/ 109 w 167"/>
                <a:gd name="T65" fmla="*/ 4 h 222"/>
                <a:gd name="T66" fmla="*/ 109 w 167"/>
                <a:gd name="T67" fmla="*/ 20 h 222"/>
                <a:gd name="T68" fmla="*/ 136 w 167"/>
                <a:gd name="T69" fmla="*/ 9 h 222"/>
                <a:gd name="T70" fmla="*/ 147 w 167"/>
                <a:gd name="T71" fmla="*/ 14 h 222"/>
                <a:gd name="T72" fmla="*/ 156 w 167"/>
                <a:gd name="T73" fmla="*/ 24 h 222"/>
                <a:gd name="T74" fmla="*/ 150 w 167"/>
                <a:gd name="T75" fmla="*/ 34 h 222"/>
                <a:gd name="T76" fmla="*/ 165 w 167"/>
                <a:gd name="T77" fmla="*/ 5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7" h="222">
                  <a:moveTo>
                    <a:pt x="165" y="52"/>
                  </a:moveTo>
                  <a:cubicBezTo>
                    <a:pt x="167" y="66"/>
                    <a:pt x="167" y="66"/>
                    <a:pt x="167" y="66"/>
                  </a:cubicBezTo>
                  <a:cubicBezTo>
                    <a:pt x="164" y="68"/>
                    <a:pt x="150" y="82"/>
                    <a:pt x="147" y="84"/>
                  </a:cubicBezTo>
                  <a:cubicBezTo>
                    <a:pt x="144" y="87"/>
                    <a:pt x="138" y="75"/>
                    <a:pt x="136" y="76"/>
                  </a:cubicBezTo>
                  <a:cubicBezTo>
                    <a:pt x="134" y="78"/>
                    <a:pt x="125" y="84"/>
                    <a:pt x="122" y="88"/>
                  </a:cubicBezTo>
                  <a:cubicBezTo>
                    <a:pt x="118" y="93"/>
                    <a:pt x="125" y="105"/>
                    <a:pt x="122" y="112"/>
                  </a:cubicBezTo>
                  <a:cubicBezTo>
                    <a:pt x="120" y="120"/>
                    <a:pt x="110" y="120"/>
                    <a:pt x="105" y="125"/>
                  </a:cubicBezTo>
                  <a:cubicBezTo>
                    <a:pt x="100" y="130"/>
                    <a:pt x="106" y="140"/>
                    <a:pt x="106" y="143"/>
                  </a:cubicBezTo>
                  <a:cubicBezTo>
                    <a:pt x="106" y="146"/>
                    <a:pt x="104" y="150"/>
                    <a:pt x="100" y="156"/>
                  </a:cubicBezTo>
                  <a:cubicBezTo>
                    <a:pt x="96" y="161"/>
                    <a:pt x="85" y="179"/>
                    <a:pt x="85" y="185"/>
                  </a:cubicBezTo>
                  <a:cubicBezTo>
                    <a:pt x="89" y="198"/>
                    <a:pt x="89" y="198"/>
                    <a:pt x="89" y="198"/>
                  </a:cubicBezTo>
                  <a:cubicBezTo>
                    <a:pt x="83" y="198"/>
                    <a:pt x="87" y="213"/>
                    <a:pt x="80" y="213"/>
                  </a:cubicBezTo>
                  <a:cubicBezTo>
                    <a:pt x="74" y="213"/>
                    <a:pt x="36" y="222"/>
                    <a:pt x="33" y="218"/>
                  </a:cubicBezTo>
                  <a:cubicBezTo>
                    <a:pt x="30" y="214"/>
                    <a:pt x="26" y="214"/>
                    <a:pt x="27" y="211"/>
                  </a:cubicBezTo>
                  <a:cubicBezTo>
                    <a:pt x="28" y="208"/>
                    <a:pt x="47" y="199"/>
                    <a:pt x="47" y="196"/>
                  </a:cubicBezTo>
                  <a:cubicBezTo>
                    <a:pt x="47" y="194"/>
                    <a:pt x="44" y="185"/>
                    <a:pt x="42" y="183"/>
                  </a:cubicBezTo>
                  <a:cubicBezTo>
                    <a:pt x="41" y="181"/>
                    <a:pt x="26" y="190"/>
                    <a:pt x="26" y="190"/>
                  </a:cubicBezTo>
                  <a:cubicBezTo>
                    <a:pt x="15" y="184"/>
                    <a:pt x="15" y="184"/>
                    <a:pt x="15" y="184"/>
                  </a:cubicBezTo>
                  <a:cubicBezTo>
                    <a:pt x="17" y="180"/>
                    <a:pt x="18" y="173"/>
                    <a:pt x="20" y="169"/>
                  </a:cubicBezTo>
                  <a:cubicBezTo>
                    <a:pt x="23" y="164"/>
                    <a:pt x="24" y="144"/>
                    <a:pt x="24" y="140"/>
                  </a:cubicBezTo>
                  <a:cubicBezTo>
                    <a:pt x="24" y="135"/>
                    <a:pt x="12" y="136"/>
                    <a:pt x="12" y="132"/>
                  </a:cubicBezTo>
                  <a:cubicBezTo>
                    <a:pt x="12" y="127"/>
                    <a:pt x="8" y="114"/>
                    <a:pt x="4" y="110"/>
                  </a:cubicBezTo>
                  <a:cubicBezTo>
                    <a:pt x="0" y="105"/>
                    <a:pt x="2" y="95"/>
                    <a:pt x="4" y="90"/>
                  </a:cubicBezTo>
                  <a:cubicBezTo>
                    <a:pt x="6" y="84"/>
                    <a:pt x="21" y="76"/>
                    <a:pt x="23" y="73"/>
                  </a:cubicBezTo>
                  <a:cubicBezTo>
                    <a:pt x="25" y="70"/>
                    <a:pt x="19" y="58"/>
                    <a:pt x="19" y="53"/>
                  </a:cubicBezTo>
                  <a:cubicBezTo>
                    <a:pt x="19" y="51"/>
                    <a:pt x="18" y="50"/>
                    <a:pt x="16" y="49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30" y="35"/>
                    <a:pt x="41" y="30"/>
                    <a:pt x="46" y="27"/>
                  </a:cubicBezTo>
                  <a:cubicBezTo>
                    <a:pt x="50" y="24"/>
                    <a:pt x="58" y="14"/>
                    <a:pt x="64" y="12"/>
                  </a:cubicBezTo>
                  <a:cubicBezTo>
                    <a:pt x="70" y="10"/>
                    <a:pt x="82" y="16"/>
                    <a:pt x="83" y="14"/>
                  </a:cubicBezTo>
                  <a:cubicBezTo>
                    <a:pt x="84" y="12"/>
                    <a:pt x="86" y="9"/>
                    <a:pt x="88" y="6"/>
                  </a:cubicBezTo>
                  <a:cubicBezTo>
                    <a:pt x="91" y="3"/>
                    <a:pt x="94" y="0"/>
                    <a:pt x="96" y="0"/>
                  </a:cubicBezTo>
                  <a:cubicBezTo>
                    <a:pt x="102" y="0"/>
                    <a:pt x="106" y="3"/>
                    <a:pt x="109" y="4"/>
                  </a:cubicBezTo>
                  <a:cubicBezTo>
                    <a:pt x="112" y="6"/>
                    <a:pt x="104" y="20"/>
                    <a:pt x="109" y="20"/>
                  </a:cubicBezTo>
                  <a:cubicBezTo>
                    <a:pt x="114" y="19"/>
                    <a:pt x="134" y="10"/>
                    <a:pt x="136" y="9"/>
                  </a:cubicBezTo>
                  <a:cubicBezTo>
                    <a:pt x="138" y="8"/>
                    <a:pt x="142" y="11"/>
                    <a:pt x="147" y="1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3" y="27"/>
                    <a:pt x="151" y="31"/>
                    <a:pt x="150" y="34"/>
                  </a:cubicBezTo>
                  <a:cubicBezTo>
                    <a:pt x="147" y="40"/>
                    <a:pt x="163" y="44"/>
                    <a:pt x="165" y="52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6" name="Freeform 195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727874" y="4816906"/>
              <a:ext cx="815928" cy="641219"/>
            </a:xfrm>
            <a:custGeom>
              <a:avLst/>
              <a:gdLst>
                <a:gd name="T0" fmla="*/ 257 w 260"/>
                <a:gd name="T1" fmla="*/ 52 h 204"/>
                <a:gd name="T2" fmla="*/ 260 w 260"/>
                <a:gd name="T3" fmla="*/ 65 h 204"/>
                <a:gd name="T4" fmla="*/ 258 w 260"/>
                <a:gd name="T5" fmla="*/ 65 h 204"/>
                <a:gd name="T6" fmla="*/ 242 w 260"/>
                <a:gd name="T7" fmla="*/ 93 h 204"/>
                <a:gd name="T8" fmla="*/ 205 w 260"/>
                <a:gd name="T9" fmla="*/ 105 h 204"/>
                <a:gd name="T10" fmla="*/ 202 w 260"/>
                <a:gd name="T11" fmla="*/ 98 h 204"/>
                <a:gd name="T12" fmla="*/ 194 w 260"/>
                <a:gd name="T13" fmla="*/ 101 h 204"/>
                <a:gd name="T14" fmla="*/ 187 w 260"/>
                <a:gd name="T15" fmla="*/ 110 h 204"/>
                <a:gd name="T16" fmla="*/ 176 w 260"/>
                <a:gd name="T17" fmla="*/ 113 h 204"/>
                <a:gd name="T18" fmla="*/ 167 w 260"/>
                <a:gd name="T19" fmla="*/ 129 h 204"/>
                <a:gd name="T20" fmla="*/ 152 w 260"/>
                <a:gd name="T21" fmla="*/ 131 h 204"/>
                <a:gd name="T22" fmla="*/ 154 w 260"/>
                <a:gd name="T23" fmla="*/ 115 h 204"/>
                <a:gd name="T24" fmla="*/ 146 w 260"/>
                <a:gd name="T25" fmla="*/ 104 h 204"/>
                <a:gd name="T26" fmla="*/ 135 w 260"/>
                <a:gd name="T27" fmla="*/ 103 h 204"/>
                <a:gd name="T28" fmla="*/ 142 w 260"/>
                <a:gd name="T29" fmla="*/ 129 h 204"/>
                <a:gd name="T30" fmla="*/ 129 w 260"/>
                <a:gd name="T31" fmla="*/ 136 h 204"/>
                <a:gd name="T32" fmla="*/ 123 w 260"/>
                <a:gd name="T33" fmla="*/ 117 h 204"/>
                <a:gd name="T34" fmla="*/ 116 w 260"/>
                <a:gd name="T35" fmla="*/ 139 h 204"/>
                <a:gd name="T36" fmla="*/ 96 w 260"/>
                <a:gd name="T37" fmla="*/ 146 h 204"/>
                <a:gd name="T38" fmla="*/ 92 w 260"/>
                <a:gd name="T39" fmla="*/ 143 h 204"/>
                <a:gd name="T40" fmla="*/ 86 w 260"/>
                <a:gd name="T41" fmla="*/ 142 h 204"/>
                <a:gd name="T42" fmla="*/ 72 w 260"/>
                <a:gd name="T43" fmla="*/ 152 h 204"/>
                <a:gd name="T44" fmla="*/ 48 w 260"/>
                <a:gd name="T45" fmla="*/ 158 h 204"/>
                <a:gd name="T46" fmla="*/ 39 w 260"/>
                <a:gd name="T47" fmla="*/ 159 h 204"/>
                <a:gd name="T48" fmla="*/ 32 w 260"/>
                <a:gd name="T49" fmla="*/ 171 h 204"/>
                <a:gd name="T50" fmla="*/ 20 w 260"/>
                <a:gd name="T51" fmla="*/ 171 h 204"/>
                <a:gd name="T52" fmla="*/ 20 w 260"/>
                <a:gd name="T53" fmla="*/ 178 h 204"/>
                <a:gd name="T54" fmla="*/ 28 w 260"/>
                <a:gd name="T55" fmla="*/ 180 h 204"/>
                <a:gd name="T56" fmla="*/ 33 w 260"/>
                <a:gd name="T57" fmla="*/ 193 h 204"/>
                <a:gd name="T58" fmla="*/ 26 w 260"/>
                <a:gd name="T59" fmla="*/ 202 h 204"/>
                <a:gd name="T60" fmla="*/ 10 w 260"/>
                <a:gd name="T61" fmla="*/ 202 h 204"/>
                <a:gd name="T62" fmla="*/ 8 w 260"/>
                <a:gd name="T63" fmla="*/ 189 h 204"/>
                <a:gd name="T64" fmla="*/ 1 w 260"/>
                <a:gd name="T65" fmla="*/ 174 h 204"/>
                <a:gd name="T66" fmla="*/ 5 w 260"/>
                <a:gd name="T67" fmla="*/ 163 h 204"/>
                <a:gd name="T68" fmla="*/ 11 w 260"/>
                <a:gd name="T69" fmla="*/ 162 h 204"/>
                <a:gd name="T70" fmla="*/ 13 w 260"/>
                <a:gd name="T71" fmla="*/ 155 h 204"/>
                <a:gd name="T72" fmla="*/ 5 w 260"/>
                <a:gd name="T73" fmla="*/ 149 h 204"/>
                <a:gd name="T74" fmla="*/ 11 w 260"/>
                <a:gd name="T75" fmla="*/ 142 h 204"/>
                <a:gd name="T76" fmla="*/ 29 w 260"/>
                <a:gd name="T77" fmla="*/ 135 h 204"/>
                <a:gd name="T78" fmla="*/ 41 w 260"/>
                <a:gd name="T79" fmla="*/ 115 h 204"/>
                <a:gd name="T80" fmla="*/ 58 w 260"/>
                <a:gd name="T81" fmla="*/ 104 h 204"/>
                <a:gd name="T82" fmla="*/ 63 w 260"/>
                <a:gd name="T83" fmla="*/ 83 h 204"/>
                <a:gd name="T84" fmla="*/ 69 w 260"/>
                <a:gd name="T85" fmla="*/ 68 h 204"/>
                <a:gd name="T86" fmla="*/ 83 w 260"/>
                <a:gd name="T87" fmla="*/ 48 h 204"/>
                <a:gd name="T88" fmla="*/ 84 w 260"/>
                <a:gd name="T89" fmla="*/ 27 h 204"/>
                <a:gd name="T90" fmla="*/ 89 w 260"/>
                <a:gd name="T91" fmla="*/ 13 h 204"/>
                <a:gd name="T92" fmla="*/ 99 w 260"/>
                <a:gd name="T93" fmla="*/ 14 h 204"/>
                <a:gd name="T94" fmla="*/ 105 w 260"/>
                <a:gd name="T95" fmla="*/ 23 h 204"/>
                <a:gd name="T96" fmla="*/ 119 w 260"/>
                <a:gd name="T97" fmla="*/ 23 h 204"/>
                <a:gd name="T98" fmla="*/ 116 w 260"/>
                <a:gd name="T99" fmla="*/ 7 h 204"/>
                <a:gd name="T100" fmla="*/ 125 w 260"/>
                <a:gd name="T101" fmla="*/ 1 h 204"/>
                <a:gd name="T102" fmla="*/ 145 w 260"/>
                <a:gd name="T103" fmla="*/ 5 h 204"/>
                <a:gd name="T104" fmla="*/ 148 w 260"/>
                <a:gd name="T105" fmla="*/ 3 h 204"/>
                <a:gd name="T106" fmla="*/ 159 w 260"/>
                <a:gd name="T107" fmla="*/ 9 h 204"/>
                <a:gd name="T108" fmla="*/ 175 w 260"/>
                <a:gd name="T109" fmla="*/ 2 h 204"/>
                <a:gd name="T110" fmla="*/ 180 w 260"/>
                <a:gd name="T111" fmla="*/ 15 h 204"/>
                <a:gd name="T112" fmla="*/ 160 w 260"/>
                <a:gd name="T113" fmla="*/ 30 h 204"/>
                <a:gd name="T114" fmla="*/ 166 w 260"/>
                <a:gd name="T115" fmla="*/ 37 h 204"/>
                <a:gd name="T116" fmla="*/ 213 w 260"/>
                <a:gd name="T117" fmla="*/ 32 h 204"/>
                <a:gd name="T118" fmla="*/ 222 w 260"/>
                <a:gd name="T119" fmla="*/ 17 h 204"/>
                <a:gd name="T120" fmla="*/ 253 w 260"/>
                <a:gd name="T121" fmla="*/ 34 h 204"/>
                <a:gd name="T122" fmla="*/ 257 w 260"/>
                <a:gd name="T123" fmla="*/ 5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204">
                  <a:moveTo>
                    <a:pt x="257" y="52"/>
                  </a:moveTo>
                  <a:cubicBezTo>
                    <a:pt x="260" y="65"/>
                    <a:pt x="260" y="65"/>
                    <a:pt x="260" y="65"/>
                  </a:cubicBezTo>
                  <a:cubicBezTo>
                    <a:pt x="259" y="65"/>
                    <a:pt x="258" y="65"/>
                    <a:pt x="258" y="65"/>
                  </a:cubicBezTo>
                  <a:cubicBezTo>
                    <a:pt x="255" y="66"/>
                    <a:pt x="252" y="87"/>
                    <a:pt x="242" y="93"/>
                  </a:cubicBezTo>
                  <a:cubicBezTo>
                    <a:pt x="239" y="95"/>
                    <a:pt x="208" y="105"/>
                    <a:pt x="205" y="105"/>
                  </a:cubicBezTo>
                  <a:cubicBezTo>
                    <a:pt x="203" y="105"/>
                    <a:pt x="204" y="99"/>
                    <a:pt x="202" y="98"/>
                  </a:cubicBezTo>
                  <a:cubicBezTo>
                    <a:pt x="200" y="96"/>
                    <a:pt x="196" y="100"/>
                    <a:pt x="194" y="101"/>
                  </a:cubicBezTo>
                  <a:cubicBezTo>
                    <a:pt x="191" y="101"/>
                    <a:pt x="190" y="110"/>
                    <a:pt x="187" y="110"/>
                  </a:cubicBezTo>
                  <a:cubicBezTo>
                    <a:pt x="184" y="111"/>
                    <a:pt x="178" y="112"/>
                    <a:pt x="176" y="113"/>
                  </a:cubicBezTo>
                  <a:cubicBezTo>
                    <a:pt x="170" y="114"/>
                    <a:pt x="172" y="128"/>
                    <a:pt x="167" y="129"/>
                  </a:cubicBezTo>
                  <a:cubicBezTo>
                    <a:pt x="162" y="129"/>
                    <a:pt x="163" y="128"/>
                    <a:pt x="152" y="131"/>
                  </a:cubicBezTo>
                  <a:cubicBezTo>
                    <a:pt x="149" y="132"/>
                    <a:pt x="154" y="118"/>
                    <a:pt x="154" y="115"/>
                  </a:cubicBezTo>
                  <a:cubicBezTo>
                    <a:pt x="154" y="112"/>
                    <a:pt x="147" y="106"/>
                    <a:pt x="146" y="104"/>
                  </a:cubicBezTo>
                  <a:cubicBezTo>
                    <a:pt x="138" y="90"/>
                    <a:pt x="136" y="101"/>
                    <a:pt x="135" y="103"/>
                  </a:cubicBezTo>
                  <a:cubicBezTo>
                    <a:pt x="134" y="105"/>
                    <a:pt x="144" y="112"/>
                    <a:pt x="142" y="129"/>
                  </a:cubicBezTo>
                  <a:cubicBezTo>
                    <a:pt x="141" y="133"/>
                    <a:pt x="132" y="135"/>
                    <a:pt x="129" y="136"/>
                  </a:cubicBezTo>
                  <a:cubicBezTo>
                    <a:pt x="127" y="136"/>
                    <a:pt x="127" y="117"/>
                    <a:pt x="123" y="117"/>
                  </a:cubicBezTo>
                  <a:cubicBezTo>
                    <a:pt x="119" y="117"/>
                    <a:pt x="120" y="137"/>
                    <a:pt x="116" y="139"/>
                  </a:cubicBezTo>
                  <a:cubicBezTo>
                    <a:pt x="113" y="140"/>
                    <a:pt x="102" y="147"/>
                    <a:pt x="96" y="146"/>
                  </a:cubicBezTo>
                  <a:cubicBezTo>
                    <a:pt x="93" y="146"/>
                    <a:pt x="92" y="146"/>
                    <a:pt x="92" y="143"/>
                  </a:cubicBezTo>
                  <a:cubicBezTo>
                    <a:pt x="92" y="140"/>
                    <a:pt x="89" y="141"/>
                    <a:pt x="86" y="142"/>
                  </a:cubicBezTo>
                  <a:cubicBezTo>
                    <a:pt x="84" y="143"/>
                    <a:pt x="74" y="150"/>
                    <a:pt x="72" y="152"/>
                  </a:cubicBezTo>
                  <a:cubicBezTo>
                    <a:pt x="70" y="154"/>
                    <a:pt x="51" y="157"/>
                    <a:pt x="48" y="158"/>
                  </a:cubicBezTo>
                  <a:cubicBezTo>
                    <a:pt x="46" y="159"/>
                    <a:pt x="41" y="157"/>
                    <a:pt x="39" y="159"/>
                  </a:cubicBezTo>
                  <a:cubicBezTo>
                    <a:pt x="37" y="160"/>
                    <a:pt x="33" y="171"/>
                    <a:pt x="32" y="171"/>
                  </a:cubicBezTo>
                  <a:cubicBezTo>
                    <a:pt x="30" y="171"/>
                    <a:pt x="20" y="169"/>
                    <a:pt x="20" y="171"/>
                  </a:cubicBezTo>
                  <a:cubicBezTo>
                    <a:pt x="20" y="172"/>
                    <a:pt x="18" y="177"/>
                    <a:pt x="20" y="178"/>
                  </a:cubicBezTo>
                  <a:cubicBezTo>
                    <a:pt x="21" y="179"/>
                    <a:pt x="28" y="178"/>
                    <a:pt x="28" y="180"/>
                  </a:cubicBezTo>
                  <a:cubicBezTo>
                    <a:pt x="30" y="183"/>
                    <a:pt x="32" y="190"/>
                    <a:pt x="33" y="193"/>
                  </a:cubicBezTo>
                  <a:cubicBezTo>
                    <a:pt x="34" y="197"/>
                    <a:pt x="28" y="201"/>
                    <a:pt x="26" y="202"/>
                  </a:cubicBezTo>
                  <a:cubicBezTo>
                    <a:pt x="23" y="203"/>
                    <a:pt x="11" y="204"/>
                    <a:pt x="10" y="202"/>
                  </a:cubicBezTo>
                  <a:cubicBezTo>
                    <a:pt x="10" y="200"/>
                    <a:pt x="9" y="192"/>
                    <a:pt x="8" y="189"/>
                  </a:cubicBezTo>
                  <a:cubicBezTo>
                    <a:pt x="6" y="186"/>
                    <a:pt x="2" y="179"/>
                    <a:pt x="1" y="174"/>
                  </a:cubicBezTo>
                  <a:cubicBezTo>
                    <a:pt x="0" y="170"/>
                    <a:pt x="4" y="165"/>
                    <a:pt x="5" y="163"/>
                  </a:cubicBezTo>
                  <a:cubicBezTo>
                    <a:pt x="6" y="160"/>
                    <a:pt x="10" y="164"/>
                    <a:pt x="11" y="162"/>
                  </a:cubicBezTo>
                  <a:cubicBezTo>
                    <a:pt x="12" y="159"/>
                    <a:pt x="15" y="157"/>
                    <a:pt x="13" y="155"/>
                  </a:cubicBezTo>
                  <a:cubicBezTo>
                    <a:pt x="12" y="154"/>
                    <a:pt x="9" y="152"/>
                    <a:pt x="5" y="149"/>
                  </a:cubicBezTo>
                  <a:cubicBezTo>
                    <a:pt x="11" y="142"/>
                    <a:pt x="11" y="142"/>
                    <a:pt x="11" y="142"/>
                  </a:cubicBezTo>
                  <a:cubicBezTo>
                    <a:pt x="13" y="137"/>
                    <a:pt x="22" y="137"/>
                    <a:pt x="29" y="135"/>
                  </a:cubicBezTo>
                  <a:cubicBezTo>
                    <a:pt x="35" y="133"/>
                    <a:pt x="35" y="119"/>
                    <a:pt x="41" y="115"/>
                  </a:cubicBezTo>
                  <a:cubicBezTo>
                    <a:pt x="46" y="112"/>
                    <a:pt x="53" y="109"/>
                    <a:pt x="58" y="104"/>
                  </a:cubicBezTo>
                  <a:cubicBezTo>
                    <a:pt x="63" y="99"/>
                    <a:pt x="63" y="90"/>
                    <a:pt x="63" y="83"/>
                  </a:cubicBezTo>
                  <a:cubicBezTo>
                    <a:pt x="63" y="77"/>
                    <a:pt x="66" y="71"/>
                    <a:pt x="69" y="68"/>
                  </a:cubicBezTo>
                  <a:cubicBezTo>
                    <a:pt x="73" y="65"/>
                    <a:pt x="79" y="52"/>
                    <a:pt x="83" y="48"/>
                  </a:cubicBezTo>
                  <a:cubicBezTo>
                    <a:pt x="87" y="44"/>
                    <a:pt x="84" y="30"/>
                    <a:pt x="84" y="27"/>
                  </a:cubicBezTo>
                  <a:cubicBezTo>
                    <a:pt x="84" y="23"/>
                    <a:pt x="85" y="13"/>
                    <a:pt x="89" y="13"/>
                  </a:cubicBezTo>
                  <a:cubicBezTo>
                    <a:pt x="89" y="13"/>
                    <a:pt x="96" y="13"/>
                    <a:pt x="99" y="14"/>
                  </a:cubicBezTo>
                  <a:cubicBezTo>
                    <a:pt x="101" y="15"/>
                    <a:pt x="99" y="15"/>
                    <a:pt x="105" y="23"/>
                  </a:cubicBezTo>
                  <a:cubicBezTo>
                    <a:pt x="110" y="28"/>
                    <a:pt x="117" y="24"/>
                    <a:pt x="119" y="23"/>
                  </a:cubicBezTo>
                  <a:cubicBezTo>
                    <a:pt x="121" y="21"/>
                    <a:pt x="114" y="9"/>
                    <a:pt x="116" y="7"/>
                  </a:cubicBezTo>
                  <a:cubicBezTo>
                    <a:pt x="118" y="6"/>
                    <a:pt x="119" y="1"/>
                    <a:pt x="125" y="1"/>
                  </a:cubicBezTo>
                  <a:cubicBezTo>
                    <a:pt x="132" y="1"/>
                    <a:pt x="139" y="5"/>
                    <a:pt x="145" y="5"/>
                  </a:cubicBezTo>
                  <a:cubicBezTo>
                    <a:pt x="146" y="5"/>
                    <a:pt x="147" y="4"/>
                    <a:pt x="148" y="3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9"/>
                    <a:pt x="174" y="0"/>
                    <a:pt x="175" y="2"/>
                  </a:cubicBezTo>
                  <a:cubicBezTo>
                    <a:pt x="177" y="4"/>
                    <a:pt x="180" y="13"/>
                    <a:pt x="180" y="15"/>
                  </a:cubicBezTo>
                  <a:cubicBezTo>
                    <a:pt x="180" y="18"/>
                    <a:pt x="161" y="27"/>
                    <a:pt x="160" y="30"/>
                  </a:cubicBezTo>
                  <a:cubicBezTo>
                    <a:pt x="159" y="33"/>
                    <a:pt x="163" y="33"/>
                    <a:pt x="166" y="37"/>
                  </a:cubicBezTo>
                  <a:cubicBezTo>
                    <a:pt x="169" y="41"/>
                    <a:pt x="207" y="32"/>
                    <a:pt x="213" y="32"/>
                  </a:cubicBezTo>
                  <a:cubicBezTo>
                    <a:pt x="220" y="32"/>
                    <a:pt x="216" y="17"/>
                    <a:pt x="222" y="17"/>
                  </a:cubicBezTo>
                  <a:cubicBezTo>
                    <a:pt x="228" y="17"/>
                    <a:pt x="248" y="25"/>
                    <a:pt x="253" y="34"/>
                  </a:cubicBezTo>
                  <a:cubicBezTo>
                    <a:pt x="259" y="43"/>
                    <a:pt x="255" y="46"/>
                    <a:pt x="257" y="52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7" name="Freeform 196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387295" y="3016481"/>
              <a:ext cx="131467" cy="206778"/>
            </a:xfrm>
            <a:custGeom>
              <a:avLst/>
              <a:gdLst>
                <a:gd name="T0" fmla="*/ 41 w 42"/>
                <a:gd name="T1" fmla="*/ 34 h 66"/>
                <a:gd name="T2" fmla="*/ 42 w 42"/>
                <a:gd name="T3" fmla="*/ 40 h 66"/>
                <a:gd name="T4" fmla="*/ 35 w 42"/>
                <a:gd name="T5" fmla="*/ 44 h 66"/>
                <a:gd name="T6" fmla="*/ 30 w 42"/>
                <a:gd name="T7" fmla="*/ 63 h 66"/>
                <a:gd name="T8" fmla="*/ 18 w 42"/>
                <a:gd name="T9" fmla="*/ 63 h 66"/>
                <a:gd name="T10" fmla="*/ 3 w 42"/>
                <a:gd name="T11" fmla="*/ 58 h 66"/>
                <a:gd name="T12" fmla="*/ 5 w 42"/>
                <a:gd name="T13" fmla="*/ 44 h 66"/>
                <a:gd name="T14" fmla="*/ 5 w 42"/>
                <a:gd name="T15" fmla="*/ 28 h 66"/>
                <a:gd name="T16" fmla="*/ 3 w 42"/>
                <a:gd name="T17" fmla="*/ 21 h 66"/>
                <a:gd name="T18" fmla="*/ 19 w 42"/>
                <a:gd name="T19" fmla="*/ 2 h 66"/>
                <a:gd name="T20" fmla="*/ 30 w 42"/>
                <a:gd name="T21" fmla="*/ 10 h 66"/>
                <a:gd name="T22" fmla="*/ 35 w 42"/>
                <a:gd name="T23" fmla="*/ 23 h 66"/>
                <a:gd name="T24" fmla="*/ 41 w 42"/>
                <a:gd name="T25" fmla="*/ 3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66">
                  <a:moveTo>
                    <a:pt x="41" y="34"/>
                  </a:moveTo>
                  <a:cubicBezTo>
                    <a:pt x="42" y="40"/>
                    <a:pt x="42" y="40"/>
                    <a:pt x="42" y="40"/>
                  </a:cubicBezTo>
                  <a:cubicBezTo>
                    <a:pt x="39" y="40"/>
                    <a:pt x="38" y="42"/>
                    <a:pt x="35" y="44"/>
                  </a:cubicBezTo>
                  <a:cubicBezTo>
                    <a:pt x="30" y="48"/>
                    <a:pt x="30" y="55"/>
                    <a:pt x="30" y="63"/>
                  </a:cubicBezTo>
                  <a:cubicBezTo>
                    <a:pt x="18" y="63"/>
                    <a:pt x="18" y="63"/>
                    <a:pt x="18" y="63"/>
                  </a:cubicBezTo>
                  <a:cubicBezTo>
                    <a:pt x="18" y="63"/>
                    <a:pt x="7" y="66"/>
                    <a:pt x="3" y="58"/>
                  </a:cubicBezTo>
                  <a:cubicBezTo>
                    <a:pt x="0" y="50"/>
                    <a:pt x="3" y="47"/>
                    <a:pt x="5" y="44"/>
                  </a:cubicBezTo>
                  <a:cubicBezTo>
                    <a:pt x="7" y="41"/>
                    <a:pt x="6" y="34"/>
                    <a:pt x="5" y="28"/>
                  </a:cubicBezTo>
                  <a:cubicBezTo>
                    <a:pt x="4" y="25"/>
                    <a:pt x="3" y="22"/>
                    <a:pt x="3" y="21"/>
                  </a:cubicBezTo>
                  <a:cubicBezTo>
                    <a:pt x="3" y="18"/>
                    <a:pt x="17" y="5"/>
                    <a:pt x="19" y="2"/>
                  </a:cubicBezTo>
                  <a:cubicBezTo>
                    <a:pt x="21" y="0"/>
                    <a:pt x="26" y="8"/>
                    <a:pt x="30" y="10"/>
                  </a:cubicBezTo>
                  <a:cubicBezTo>
                    <a:pt x="34" y="11"/>
                    <a:pt x="31" y="20"/>
                    <a:pt x="35" y="23"/>
                  </a:cubicBezTo>
                  <a:cubicBezTo>
                    <a:pt x="39" y="26"/>
                    <a:pt x="41" y="34"/>
                    <a:pt x="41" y="34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8" name="Freeform 197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272522" y="2924580"/>
              <a:ext cx="173203" cy="192156"/>
            </a:xfrm>
            <a:custGeom>
              <a:avLst/>
              <a:gdLst>
                <a:gd name="T0" fmla="*/ 55 w 55"/>
                <a:gd name="T1" fmla="*/ 13 h 61"/>
                <a:gd name="T2" fmla="*/ 55 w 55"/>
                <a:gd name="T3" fmla="*/ 31 h 61"/>
                <a:gd name="T4" fmla="*/ 39 w 55"/>
                <a:gd name="T5" fmla="*/ 50 h 61"/>
                <a:gd name="T6" fmla="*/ 41 w 55"/>
                <a:gd name="T7" fmla="*/ 57 h 61"/>
                <a:gd name="T8" fmla="*/ 13 w 55"/>
                <a:gd name="T9" fmla="*/ 61 h 61"/>
                <a:gd name="T10" fmla="*/ 0 w 55"/>
                <a:gd name="T11" fmla="*/ 55 h 61"/>
                <a:gd name="T12" fmla="*/ 4 w 55"/>
                <a:gd name="T13" fmla="*/ 39 h 61"/>
                <a:gd name="T14" fmla="*/ 14 w 55"/>
                <a:gd name="T15" fmla="*/ 34 h 61"/>
                <a:gd name="T16" fmla="*/ 11 w 55"/>
                <a:gd name="T17" fmla="*/ 19 h 61"/>
                <a:gd name="T18" fmla="*/ 30 w 55"/>
                <a:gd name="T19" fmla="*/ 2 h 61"/>
                <a:gd name="T20" fmla="*/ 45 w 55"/>
                <a:gd name="T21" fmla="*/ 11 h 61"/>
                <a:gd name="T22" fmla="*/ 55 w 55"/>
                <a:gd name="T23" fmla="*/ 1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61">
                  <a:moveTo>
                    <a:pt x="55" y="13"/>
                  </a:moveTo>
                  <a:cubicBezTo>
                    <a:pt x="55" y="31"/>
                    <a:pt x="55" y="31"/>
                    <a:pt x="55" y="31"/>
                  </a:cubicBezTo>
                  <a:cubicBezTo>
                    <a:pt x="53" y="34"/>
                    <a:pt x="39" y="47"/>
                    <a:pt x="39" y="50"/>
                  </a:cubicBezTo>
                  <a:cubicBezTo>
                    <a:pt x="39" y="51"/>
                    <a:pt x="40" y="54"/>
                    <a:pt x="41" y="57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9" y="61"/>
                    <a:pt x="0" y="58"/>
                    <a:pt x="0" y="55"/>
                  </a:cubicBezTo>
                  <a:cubicBezTo>
                    <a:pt x="0" y="53"/>
                    <a:pt x="1" y="40"/>
                    <a:pt x="4" y="39"/>
                  </a:cubicBezTo>
                  <a:cubicBezTo>
                    <a:pt x="7" y="37"/>
                    <a:pt x="13" y="37"/>
                    <a:pt x="14" y="34"/>
                  </a:cubicBezTo>
                  <a:cubicBezTo>
                    <a:pt x="15" y="31"/>
                    <a:pt x="9" y="21"/>
                    <a:pt x="11" y="19"/>
                  </a:cubicBezTo>
                  <a:cubicBezTo>
                    <a:pt x="13" y="16"/>
                    <a:pt x="27" y="4"/>
                    <a:pt x="30" y="2"/>
                  </a:cubicBezTo>
                  <a:cubicBezTo>
                    <a:pt x="33" y="0"/>
                    <a:pt x="40" y="11"/>
                    <a:pt x="45" y="11"/>
                  </a:cubicBezTo>
                  <a:cubicBezTo>
                    <a:pt x="51" y="11"/>
                    <a:pt x="54" y="9"/>
                    <a:pt x="55" y="13"/>
                  </a:cubicBezTo>
                  <a:close/>
                </a:path>
              </a:pathLst>
            </a:custGeom>
            <a:solidFill>
              <a:srgbClr val="FFC000"/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29" name="Freeform 198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802998" y="3507316"/>
              <a:ext cx="628119" cy="599445"/>
            </a:xfrm>
            <a:custGeom>
              <a:avLst/>
              <a:gdLst>
                <a:gd name="T0" fmla="*/ 197 w 200"/>
                <a:gd name="T1" fmla="*/ 78 h 191"/>
                <a:gd name="T2" fmla="*/ 200 w 200"/>
                <a:gd name="T3" fmla="*/ 88 h 191"/>
                <a:gd name="T4" fmla="*/ 190 w 200"/>
                <a:gd name="T5" fmla="*/ 96 h 191"/>
                <a:gd name="T6" fmla="*/ 173 w 200"/>
                <a:gd name="T7" fmla="*/ 86 h 191"/>
                <a:gd name="T8" fmla="*/ 173 w 200"/>
                <a:gd name="T9" fmla="*/ 101 h 191"/>
                <a:gd name="T10" fmla="*/ 163 w 200"/>
                <a:gd name="T11" fmla="*/ 104 h 191"/>
                <a:gd name="T12" fmla="*/ 161 w 200"/>
                <a:gd name="T13" fmla="*/ 118 h 191"/>
                <a:gd name="T14" fmla="*/ 147 w 200"/>
                <a:gd name="T15" fmla="*/ 126 h 191"/>
                <a:gd name="T16" fmla="*/ 163 w 200"/>
                <a:gd name="T17" fmla="*/ 145 h 191"/>
                <a:gd name="T18" fmla="*/ 180 w 200"/>
                <a:gd name="T19" fmla="*/ 143 h 191"/>
                <a:gd name="T20" fmla="*/ 182 w 200"/>
                <a:gd name="T21" fmla="*/ 172 h 191"/>
                <a:gd name="T22" fmla="*/ 168 w 200"/>
                <a:gd name="T23" fmla="*/ 176 h 191"/>
                <a:gd name="T24" fmla="*/ 163 w 200"/>
                <a:gd name="T25" fmla="*/ 191 h 191"/>
                <a:gd name="T26" fmla="*/ 163 w 200"/>
                <a:gd name="T27" fmla="*/ 191 h 191"/>
                <a:gd name="T28" fmla="*/ 119 w 200"/>
                <a:gd name="T29" fmla="*/ 175 h 191"/>
                <a:gd name="T30" fmla="*/ 109 w 200"/>
                <a:gd name="T31" fmla="*/ 152 h 191"/>
                <a:gd name="T32" fmla="*/ 86 w 200"/>
                <a:gd name="T33" fmla="*/ 153 h 191"/>
                <a:gd name="T34" fmla="*/ 55 w 200"/>
                <a:gd name="T35" fmla="*/ 152 h 191"/>
                <a:gd name="T36" fmla="*/ 32 w 200"/>
                <a:gd name="T37" fmla="*/ 136 h 191"/>
                <a:gd name="T38" fmla="*/ 20 w 200"/>
                <a:gd name="T39" fmla="*/ 122 h 191"/>
                <a:gd name="T40" fmla="*/ 22 w 200"/>
                <a:gd name="T41" fmla="*/ 117 h 191"/>
                <a:gd name="T42" fmla="*/ 13 w 200"/>
                <a:gd name="T43" fmla="*/ 100 h 191"/>
                <a:gd name="T44" fmla="*/ 0 w 200"/>
                <a:gd name="T45" fmla="*/ 71 h 191"/>
                <a:gd name="T46" fmla="*/ 16 w 200"/>
                <a:gd name="T47" fmla="*/ 71 h 191"/>
                <a:gd name="T48" fmla="*/ 54 w 200"/>
                <a:gd name="T49" fmla="*/ 48 h 191"/>
                <a:gd name="T50" fmla="*/ 82 w 200"/>
                <a:gd name="T51" fmla="*/ 42 h 191"/>
                <a:gd name="T52" fmla="*/ 102 w 200"/>
                <a:gd name="T53" fmla="*/ 29 h 191"/>
                <a:gd name="T54" fmla="*/ 105 w 200"/>
                <a:gd name="T55" fmla="*/ 2 h 191"/>
                <a:gd name="T56" fmla="*/ 124 w 200"/>
                <a:gd name="T57" fmla="*/ 5 h 191"/>
                <a:gd name="T58" fmla="*/ 144 w 200"/>
                <a:gd name="T59" fmla="*/ 6 h 191"/>
                <a:gd name="T60" fmla="*/ 156 w 200"/>
                <a:gd name="T61" fmla="*/ 4 h 191"/>
                <a:gd name="T62" fmla="*/ 156 w 200"/>
                <a:gd name="T63" fmla="*/ 4 h 191"/>
                <a:gd name="T64" fmla="*/ 157 w 200"/>
                <a:gd name="T65" fmla="*/ 10 h 191"/>
                <a:gd name="T66" fmla="*/ 175 w 200"/>
                <a:gd name="T67" fmla="*/ 16 h 191"/>
                <a:gd name="T68" fmla="*/ 143 w 200"/>
                <a:gd name="T69" fmla="*/ 47 h 191"/>
                <a:gd name="T70" fmla="*/ 169 w 200"/>
                <a:gd name="T71" fmla="*/ 66 h 191"/>
                <a:gd name="T72" fmla="*/ 184 w 200"/>
                <a:gd name="T73" fmla="*/ 65 h 191"/>
                <a:gd name="T74" fmla="*/ 197 w 200"/>
                <a:gd name="T75" fmla="*/ 78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191">
                  <a:moveTo>
                    <a:pt x="197" y="78"/>
                  </a:moveTo>
                  <a:cubicBezTo>
                    <a:pt x="200" y="88"/>
                    <a:pt x="200" y="88"/>
                    <a:pt x="200" y="88"/>
                  </a:cubicBezTo>
                  <a:cubicBezTo>
                    <a:pt x="200" y="88"/>
                    <a:pt x="193" y="96"/>
                    <a:pt x="190" y="96"/>
                  </a:cubicBezTo>
                  <a:cubicBezTo>
                    <a:pt x="187" y="97"/>
                    <a:pt x="180" y="83"/>
                    <a:pt x="173" y="86"/>
                  </a:cubicBezTo>
                  <a:cubicBezTo>
                    <a:pt x="162" y="89"/>
                    <a:pt x="175" y="100"/>
                    <a:pt x="173" y="101"/>
                  </a:cubicBezTo>
                  <a:cubicBezTo>
                    <a:pt x="171" y="102"/>
                    <a:pt x="165" y="103"/>
                    <a:pt x="163" y="104"/>
                  </a:cubicBezTo>
                  <a:cubicBezTo>
                    <a:pt x="161" y="104"/>
                    <a:pt x="163" y="118"/>
                    <a:pt x="161" y="118"/>
                  </a:cubicBezTo>
                  <a:cubicBezTo>
                    <a:pt x="158" y="118"/>
                    <a:pt x="145" y="123"/>
                    <a:pt x="147" y="126"/>
                  </a:cubicBezTo>
                  <a:cubicBezTo>
                    <a:pt x="149" y="130"/>
                    <a:pt x="159" y="144"/>
                    <a:pt x="163" y="145"/>
                  </a:cubicBezTo>
                  <a:cubicBezTo>
                    <a:pt x="167" y="146"/>
                    <a:pt x="180" y="140"/>
                    <a:pt x="180" y="143"/>
                  </a:cubicBezTo>
                  <a:cubicBezTo>
                    <a:pt x="180" y="146"/>
                    <a:pt x="186" y="172"/>
                    <a:pt x="182" y="172"/>
                  </a:cubicBezTo>
                  <a:cubicBezTo>
                    <a:pt x="178" y="172"/>
                    <a:pt x="174" y="174"/>
                    <a:pt x="168" y="176"/>
                  </a:cubicBezTo>
                  <a:cubicBezTo>
                    <a:pt x="163" y="191"/>
                    <a:pt x="163" y="191"/>
                    <a:pt x="163" y="191"/>
                  </a:cubicBezTo>
                  <a:cubicBezTo>
                    <a:pt x="163" y="191"/>
                    <a:pt x="163" y="191"/>
                    <a:pt x="163" y="191"/>
                  </a:cubicBezTo>
                  <a:cubicBezTo>
                    <a:pt x="145" y="184"/>
                    <a:pt x="122" y="175"/>
                    <a:pt x="119" y="175"/>
                  </a:cubicBezTo>
                  <a:cubicBezTo>
                    <a:pt x="113" y="175"/>
                    <a:pt x="113" y="152"/>
                    <a:pt x="109" y="152"/>
                  </a:cubicBezTo>
                  <a:cubicBezTo>
                    <a:pt x="105" y="152"/>
                    <a:pt x="93" y="153"/>
                    <a:pt x="86" y="153"/>
                  </a:cubicBezTo>
                  <a:cubicBezTo>
                    <a:pt x="79" y="153"/>
                    <a:pt x="69" y="156"/>
                    <a:pt x="55" y="152"/>
                  </a:cubicBezTo>
                  <a:cubicBezTo>
                    <a:pt x="40" y="147"/>
                    <a:pt x="41" y="146"/>
                    <a:pt x="32" y="136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1" y="121"/>
                    <a:pt x="22" y="119"/>
                    <a:pt x="22" y="117"/>
                  </a:cubicBezTo>
                  <a:cubicBezTo>
                    <a:pt x="23" y="110"/>
                    <a:pt x="15" y="103"/>
                    <a:pt x="13" y="100"/>
                  </a:cubicBezTo>
                  <a:cubicBezTo>
                    <a:pt x="11" y="97"/>
                    <a:pt x="3" y="83"/>
                    <a:pt x="0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21" y="70"/>
                    <a:pt x="50" y="52"/>
                    <a:pt x="54" y="48"/>
                  </a:cubicBezTo>
                  <a:cubicBezTo>
                    <a:pt x="58" y="45"/>
                    <a:pt x="76" y="45"/>
                    <a:pt x="82" y="42"/>
                  </a:cubicBezTo>
                  <a:cubicBezTo>
                    <a:pt x="88" y="40"/>
                    <a:pt x="100" y="38"/>
                    <a:pt x="102" y="29"/>
                  </a:cubicBezTo>
                  <a:cubicBezTo>
                    <a:pt x="104" y="20"/>
                    <a:pt x="101" y="4"/>
                    <a:pt x="105" y="2"/>
                  </a:cubicBezTo>
                  <a:cubicBezTo>
                    <a:pt x="109" y="0"/>
                    <a:pt x="117" y="5"/>
                    <a:pt x="124" y="5"/>
                  </a:cubicBezTo>
                  <a:cubicBezTo>
                    <a:pt x="131" y="5"/>
                    <a:pt x="144" y="6"/>
                    <a:pt x="144" y="6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6" y="7"/>
                    <a:pt x="157" y="9"/>
                    <a:pt x="157" y="10"/>
                  </a:cubicBezTo>
                  <a:cubicBezTo>
                    <a:pt x="157" y="13"/>
                    <a:pt x="177" y="13"/>
                    <a:pt x="175" y="16"/>
                  </a:cubicBezTo>
                  <a:cubicBezTo>
                    <a:pt x="173" y="18"/>
                    <a:pt x="139" y="42"/>
                    <a:pt x="143" y="47"/>
                  </a:cubicBezTo>
                  <a:cubicBezTo>
                    <a:pt x="147" y="52"/>
                    <a:pt x="163" y="66"/>
                    <a:pt x="169" y="66"/>
                  </a:cubicBezTo>
                  <a:cubicBezTo>
                    <a:pt x="171" y="67"/>
                    <a:pt x="178" y="66"/>
                    <a:pt x="184" y="65"/>
                  </a:cubicBezTo>
                  <a:lnTo>
                    <a:pt x="197" y="78"/>
                  </a:ln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0" name="Freeform 199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608928" y="3881186"/>
              <a:ext cx="811755" cy="522165"/>
            </a:xfrm>
            <a:custGeom>
              <a:avLst/>
              <a:gdLst>
                <a:gd name="T0" fmla="*/ 245 w 259"/>
                <a:gd name="T1" fmla="*/ 99 h 166"/>
                <a:gd name="T2" fmla="*/ 259 w 259"/>
                <a:gd name="T3" fmla="*/ 123 h 166"/>
                <a:gd name="T4" fmla="*/ 254 w 259"/>
                <a:gd name="T5" fmla="*/ 131 h 166"/>
                <a:gd name="T6" fmla="*/ 235 w 259"/>
                <a:gd name="T7" fmla="*/ 129 h 166"/>
                <a:gd name="T8" fmla="*/ 217 w 259"/>
                <a:gd name="T9" fmla="*/ 144 h 166"/>
                <a:gd name="T10" fmla="*/ 197 w 259"/>
                <a:gd name="T11" fmla="*/ 155 h 166"/>
                <a:gd name="T12" fmla="*/ 187 w 259"/>
                <a:gd name="T13" fmla="*/ 166 h 166"/>
                <a:gd name="T14" fmla="*/ 177 w 259"/>
                <a:gd name="T15" fmla="*/ 161 h 166"/>
                <a:gd name="T16" fmla="*/ 178 w 259"/>
                <a:gd name="T17" fmla="*/ 148 h 166"/>
                <a:gd name="T18" fmla="*/ 171 w 259"/>
                <a:gd name="T19" fmla="*/ 131 h 166"/>
                <a:gd name="T20" fmla="*/ 154 w 259"/>
                <a:gd name="T21" fmla="*/ 149 h 166"/>
                <a:gd name="T22" fmla="*/ 147 w 259"/>
                <a:gd name="T23" fmla="*/ 137 h 166"/>
                <a:gd name="T24" fmla="*/ 129 w 259"/>
                <a:gd name="T25" fmla="*/ 143 h 166"/>
                <a:gd name="T26" fmla="*/ 106 w 259"/>
                <a:gd name="T27" fmla="*/ 131 h 166"/>
                <a:gd name="T28" fmla="*/ 73 w 259"/>
                <a:gd name="T29" fmla="*/ 124 h 166"/>
                <a:gd name="T30" fmla="*/ 74 w 259"/>
                <a:gd name="T31" fmla="*/ 137 h 166"/>
                <a:gd name="T32" fmla="*/ 61 w 259"/>
                <a:gd name="T33" fmla="*/ 144 h 166"/>
                <a:gd name="T34" fmla="*/ 49 w 259"/>
                <a:gd name="T35" fmla="*/ 137 h 166"/>
                <a:gd name="T36" fmla="*/ 34 w 259"/>
                <a:gd name="T37" fmla="*/ 146 h 166"/>
                <a:gd name="T38" fmla="*/ 27 w 259"/>
                <a:gd name="T39" fmla="*/ 162 h 166"/>
                <a:gd name="T40" fmla="*/ 5 w 259"/>
                <a:gd name="T41" fmla="*/ 134 h 166"/>
                <a:gd name="T42" fmla="*/ 0 w 259"/>
                <a:gd name="T43" fmla="*/ 109 h 166"/>
                <a:gd name="T44" fmla="*/ 29 w 259"/>
                <a:gd name="T45" fmla="*/ 105 h 166"/>
                <a:gd name="T46" fmla="*/ 54 w 259"/>
                <a:gd name="T47" fmla="*/ 96 h 166"/>
                <a:gd name="T48" fmla="*/ 56 w 259"/>
                <a:gd name="T49" fmla="*/ 75 h 166"/>
                <a:gd name="T50" fmla="*/ 38 w 259"/>
                <a:gd name="T51" fmla="*/ 59 h 166"/>
                <a:gd name="T52" fmla="*/ 38 w 259"/>
                <a:gd name="T53" fmla="*/ 37 h 166"/>
                <a:gd name="T54" fmla="*/ 57 w 259"/>
                <a:gd name="T55" fmla="*/ 24 h 166"/>
                <a:gd name="T56" fmla="*/ 42 w 259"/>
                <a:gd name="T57" fmla="*/ 16 h 166"/>
                <a:gd name="T58" fmla="*/ 31 w 259"/>
                <a:gd name="T59" fmla="*/ 9 h 166"/>
                <a:gd name="T60" fmla="*/ 37 w 259"/>
                <a:gd name="T61" fmla="*/ 1 h 166"/>
                <a:gd name="T62" fmla="*/ 53 w 259"/>
                <a:gd name="T63" fmla="*/ 1 h 166"/>
                <a:gd name="T64" fmla="*/ 73 w 259"/>
                <a:gd name="T65" fmla="*/ 9 h 166"/>
                <a:gd name="T66" fmla="*/ 82 w 259"/>
                <a:gd name="T67" fmla="*/ 3 h 166"/>
                <a:gd name="T68" fmla="*/ 94 w 259"/>
                <a:gd name="T69" fmla="*/ 17 h 166"/>
                <a:gd name="T70" fmla="*/ 117 w 259"/>
                <a:gd name="T71" fmla="*/ 33 h 166"/>
                <a:gd name="T72" fmla="*/ 148 w 259"/>
                <a:gd name="T73" fmla="*/ 34 h 166"/>
                <a:gd name="T74" fmla="*/ 171 w 259"/>
                <a:gd name="T75" fmla="*/ 33 h 166"/>
                <a:gd name="T76" fmla="*/ 181 w 259"/>
                <a:gd name="T77" fmla="*/ 56 h 166"/>
                <a:gd name="T78" fmla="*/ 225 w 259"/>
                <a:gd name="T79" fmla="*/ 72 h 166"/>
                <a:gd name="T80" fmla="*/ 247 w 259"/>
                <a:gd name="T81" fmla="*/ 80 h 166"/>
                <a:gd name="T82" fmla="*/ 245 w 259"/>
                <a:gd name="T83" fmla="*/ 9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9" h="166">
                  <a:moveTo>
                    <a:pt x="245" y="99"/>
                  </a:moveTo>
                  <a:cubicBezTo>
                    <a:pt x="259" y="123"/>
                    <a:pt x="259" y="123"/>
                    <a:pt x="259" y="123"/>
                  </a:cubicBezTo>
                  <a:cubicBezTo>
                    <a:pt x="257" y="126"/>
                    <a:pt x="255" y="129"/>
                    <a:pt x="254" y="131"/>
                  </a:cubicBezTo>
                  <a:cubicBezTo>
                    <a:pt x="253" y="133"/>
                    <a:pt x="241" y="127"/>
                    <a:pt x="235" y="129"/>
                  </a:cubicBezTo>
                  <a:cubicBezTo>
                    <a:pt x="229" y="131"/>
                    <a:pt x="221" y="141"/>
                    <a:pt x="217" y="144"/>
                  </a:cubicBezTo>
                  <a:cubicBezTo>
                    <a:pt x="212" y="147"/>
                    <a:pt x="201" y="152"/>
                    <a:pt x="197" y="155"/>
                  </a:cubicBezTo>
                  <a:cubicBezTo>
                    <a:pt x="187" y="166"/>
                    <a:pt x="187" y="166"/>
                    <a:pt x="187" y="166"/>
                  </a:cubicBezTo>
                  <a:cubicBezTo>
                    <a:pt x="184" y="164"/>
                    <a:pt x="178" y="163"/>
                    <a:pt x="177" y="161"/>
                  </a:cubicBezTo>
                  <a:cubicBezTo>
                    <a:pt x="174" y="157"/>
                    <a:pt x="179" y="151"/>
                    <a:pt x="178" y="148"/>
                  </a:cubicBezTo>
                  <a:cubicBezTo>
                    <a:pt x="177" y="145"/>
                    <a:pt x="174" y="133"/>
                    <a:pt x="171" y="131"/>
                  </a:cubicBezTo>
                  <a:cubicBezTo>
                    <a:pt x="167" y="130"/>
                    <a:pt x="157" y="149"/>
                    <a:pt x="154" y="149"/>
                  </a:cubicBezTo>
                  <a:cubicBezTo>
                    <a:pt x="151" y="148"/>
                    <a:pt x="149" y="139"/>
                    <a:pt x="147" y="137"/>
                  </a:cubicBezTo>
                  <a:cubicBezTo>
                    <a:pt x="145" y="135"/>
                    <a:pt x="135" y="143"/>
                    <a:pt x="129" y="143"/>
                  </a:cubicBezTo>
                  <a:cubicBezTo>
                    <a:pt x="123" y="143"/>
                    <a:pt x="114" y="133"/>
                    <a:pt x="106" y="131"/>
                  </a:cubicBezTo>
                  <a:cubicBezTo>
                    <a:pt x="98" y="129"/>
                    <a:pt x="81" y="123"/>
                    <a:pt x="73" y="124"/>
                  </a:cubicBezTo>
                  <a:cubicBezTo>
                    <a:pt x="66" y="125"/>
                    <a:pt x="76" y="134"/>
                    <a:pt x="74" y="137"/>
                  </a:cubicBezTo>
                  <a:cubicBezTo>
                    <a:pt x="72" y="139"/>
                    <a:pt x="65" y="144"/>
                    <a:pt x="61" y="144"/>
                  </a:cubicBezTo>
                  <a:cubicBezTo>
                    <a:pt x="57" y="144"/>
                    <a:pt x="52" y="136"/>
                    <a:pt x="49" y="137"/>
                  </a:cubicBezTo>
                  <a:cubicBezTo>
                    <a:pt x="45" y="137"/>
                    <a:pt x="38" y="143"/>
                    <a:pt x="34" y="146"/>
                  </a:cubicBezTo>
                  <a:cubicBezTo>
                    <a:pt x="31" y="148"/>
                    <a:pt x="29" y="154"/>
                    <a:pt x="27" y="162"/>
                  </a:cubicBezTo>
                  <a:cubicBezTo>
                    <a:pt x="27" y="162"/>
                    <a:pt x="8" y="139"/>
                    <a:pt x="5" y="134"/>
                  </a:cubicBezTo>
                  <a:cubicBezTo>
                    <a:pt x="1" y="129"/>
                    <a:pt x="0" y="115"/>
                    <a:pt x="0" y="109"/>
                  </a:cubicBezTo>
                  <a:cubicBezTo>
                    <a:pt x="0" y="104"/>
                    <a:pt x="24" y="105"/>
                    <a:pt x="29" y="105"/>
                  </a:cubicBezTo>
                  <a:cubicBezTo>
                    <a:pt x="34" y="105"/>
                    <a:pt x="50" y="100"/>
                    <a:pt x="54" y="96"/>
                  </a:cubicBezTo>
                  <a:cubicBezTo>
                    <a:pt x="59" y="92"/>
                    <a:pt x="56" y="79"/>
                    <a:pt x="56" y="75"/>
                  </a:cubicBezTo>
                  <a:cubicBezTo>
                    <a:pt x="56" y="70"/>
                    <a:pt x="40" y="62"/>
                    <a:pt x="38" y="59"/>
                  </a:cubicBezTo>
                  <a:cubicBezTo>
                    <a:pt x="37" y="55"/>
                    <a:pt x="37" y="40"/>
                    <a:pt x="38" y="37"/>
                  </a:cubicBezTo>
                  <a:cubicBezTo>
                    <a:pt x="40" y="34"/>
                    <a:pt x="56" y="33"/>
                    <a:pt x="57" y="24"/>
                  </a:cubicBezTo>
                  <a:cubicBezTo>
                    <a:pt x="57" y="21"/>
                    <a:pt x="45" y="17"/>
                    <a:pt x="42" y="16"/>
                  </a:cubicBezTo>
                  <a:cubicBezTo>
                    <a:pt x="38" y="15"/>
                    <a:pt x="30" y="11"/>
                    <a:pt x="31" y="9"/>
                  </a:cubicBezTo>
                  <a:cubicBezTo>
                    <a:pt x="31" y="7"/>
                    <a:pt x="35" y="0"/>
                    <a:pt x="37" y="1"/>
                  </a:cubicBezTo>
                  <a:cubicBezTo>
                    <a:pt x="40" y="2"/>
                    <a:pt x="47" y="0"/>
                    <a:pt x="53" y="1"/>
                  </a:cubicBezTo>
                  <a:cubicBezTo>
                    <a:pt x="59" y="2"/>
                    <a:pt x="68" y="7"/>
                    <a:pt x="73" y="9"/>
                  </a:cubicBezTo>
                  <a:cubicBezTo>
                    <a:pt x="76" y="10"/>
                    <a:pt x="80" y="7"/>
                    <a:pt x="82" y="3"/>
                  </a:cubicBezTo>
                  <a:cubicBezTo>
                    <a:pt x="94" y="17"/>
                    <a:pt x="94" y="17"/>
                    <a:pt x="94" y="17"/>
                  </a:cubicBezTo>
                  <a:cubicBezTo>
                    <a:pt x="103" y="27"/>
                    <a:pt x="102" y="28"/>
                    <a:pt x="117" y="33"/>
                  </a:cubicBezTo>
                  <a:cubicBezTo>
                    <a:pt x="131" y="37"/>
                    <a:pt x="141" y="34"/>
                    <a:pt x="148" y="34"/>
                  </a:cubicBezTo>
                  <a:cubicBezTo>
                    <a:pt x="155" y="34"/>
                    <a:pt x="167" y="33"/>
                    <a:pt x="171" y="33"/>
                  </a:cubicBezTo>
                  <a:cubicBezTo>
                    <a:pt x="175" y="33"/>
                    <a:pt x="175" y="56"/>
                    <a:pt x="181" y="56"/>
                  </a:cubicBezTo>
                  <a:cubicBezTo>
                    <a:pt x="184" y="56"/>
                    <a:pt x="207" y="65"/>
                    <a:pt x="225" y="72"/>
                  </a:cubicBezTo>
                  <a:cubicBezTo>
                    <a:pt x="236" y="76"/>
                    <a:pt x="245" y="79"/>
                    <a:pt x="247" y="80"/>
                  </a:cubicBezTo>
                  <a:cubicBezTo>
                    <a:pt x="252" y="81"/>
                    <a:pt x="243" y="95"/>
                    <a:pt x="245" y="99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1" name="Freeform 200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640230" y="4267588"/>
              <a:ext cx="584297" cy="637041"/>
            </a:xfrm>
            <a:custGeom>
              <a:avLst/>
              <a:gdLst>
                <a:gd name="T0" fmla="*/ 176 w 186"/>
                <a:gd name="T1" fmla="*/ 178 h 203"/>
                <a:gd name="T2" fmla="*/ 173 w 186"/>
                <a:gd name="T3" fmla="*/ 180 h 203"/>
                <a:gd name="T4" fmla="*/ 153 w 186"/>
                <a:gd name="T5" fmla="*/ 176 h 203"/>
                <a:gd name="T6" fmla="*/ 144 w 186"/>
                <a:gd name="T7" fmla="*/ 182 h 203"/>
                <a:gd name="T8" fmla="*/ 147 w 186"/>
                <a:gd name="T9" fmla="*/ 198 h 203"/>
                <a:gd name="T10" fmla="*/ 133 w 186"/>
                <a:gd name="T11" fmla="*/ 198 h 203"/>
                <a:gd name="T12" fmla="*/ 127 w 186"/>
                <a:gd name="T13" fmla="*/ 189 h 203"/>
                <a:gd name="T14" fmla="*/ 117 w 186"/>
                <a:gd name="T15" fmla="*/ 188 h 203"/>
                <a:gd name="T16" fmla="*/ 112 w 186"/>
                <a:gd name="T17" fmla="*/ 202 h 203"/>
                <a:gd name="T18" fmla="*/ 101 w 186"/>
                <a:gd name="T19" fmla="*/ 202 h 203"/>
                <a:gd name="T20" fmla="*/ 75 w 186"/>
                <a:gd name="T21" fmla="*/ 194 h 203"/>
                <a:gd name="T22" fmla="*/ 89 w 186"/>
                <a:gd name="T23" fmla="*/ 174 h 203"/>
                <a:gd name="T24" fmla="*/ 87 w 186"/>
                <a:gd name="T25" fmla="*/ 163 h 203"/>
                <a:gd name="T26" fmla="*/ 83 w 186"/>
                <a:gd name="T27" fmla="*/ 148 h 203"/>
                <a:gd name="T28" fmla="*/ 69 w 186"/>
                <a:gd name="T29" fmla="*/ 145 h 203"/>
                <a:gd name="T30" fmla="*/ 53 w 186"/>
                <a:gd name="T31" fmla="*/ 156 h 203"/>
                <a:gd name="T32" fmla="*/ 35 w 186"/>
                <a:gd name="T33" fmla="*/ 154 h 203"/>
                <a:gd name="T34" fmla="*/ 22 w 186"/>
                <a:gd name="T35" fmla="*/ 154 h 203"/>
                <a:gd name="T36" fmla="*/ 22 w 186"/>
                <a:gd name="T37" fmla="*/ 150 h 203"/>
                <a:gd name="T38" fmla="*/ 20 w 186"/>
                <a:gd name="T39" fmla="*/ 135 h 203"/>
                <a:gd name="T40" fmla="*/ 24 w 186"/>
                <a:gd name="T41" fmla="*/ 122 h 203"/>
                <a:gd name="T42" fmla="*/ 1 w 186"/>
                <a:gd name="T43" fmla="*/ 120 h 203"/>
                <a:gd name="T44" fmla="*/ 19 w 186"/>
                <a:gd name="T45" fmla="*/ 98 h 203"/>
                <a:gd name="T46" fmla="*/ 19 w 186"/>
                <a:gd name="T47" fmla="*/ 79 h 203"/>
                <a:gd name="T48" fmla="*/ 17 w 186"/>
                <a:gd name="T49" fmla="*/ 69 h 203"/>
                <a:gd name="T50" fmla="*/ 16 w 186"/>
                <a:gd name="T51" fmla="*/ 48 h 203"/>
                <a:gd name="T52" fmla="*/ 17 w 186"/>
                <a:gd name="T53" fmla="*/ 39 h 203"/>
                <a:gd name="T54" fmla="*/ 24 w 186"/>
                <a:gd name="T55" fmla="*/ 23 h 203"/>
                <a:gd name="T56" fmla="*/ 39 w 186"/>
                <a:gd name="T57" fmla="*/ 14 h 203"/>
                <a:gd name="T58" fmla="*/ 51 w 186"/>
                <a:gd name="T59" fmla="*/ 21 h 203"/>
                <a:gd name="T60" fmla="*/ 64 w 186"/>
                <a:gd name="T61" fmla="*/ 14 h 203"/>
                <a:gd name="T62" fmla="*/ 63 w 186"/>
                <a:gd name="T63" fmla="*/ 1 h 203"/>
                <a:gd name="T64" fmla="*/ 96 w 186"/>
                <a:gd name="T65" fmla="*/ 8 h 203"/>
                <a:gd name="T66" fmla="*/ 119 w 186"/>
                <a:gd name="T67" fmla="*/ 20 h 203"/>
                <a:gd name="T68" fmla="*/ 137 w 186"/>
                <a:gd name="T69" fmla="*/ 14 h 203"/>
                <a:gd name="T70" fmla="*/ 144 w 186"/>
                <a:gd name="T71" fmla="*/ 26 h 203"/>
                <a:gd name="T72" fmla="*/ 161 w 186"/>
                <a:gd name="T73" fmla="*/ 8 h 203"/>
                <a:gd name="T74" fmla="*/ 168 w 186"/>
                <a:gd name="T75" fmla="*/ 25 h 203"/>
                <a:gd name="T76" fmla="*/ 167 w 186"/>
                <a:gd name="T77" fmla="*/ 38 h 203"/>
                <a:gd name="T78" fmla="*/ 177 w 186"/>
                <a:gd name="T79" fmla="*/ 43 h 203"/>
                <a:gd name="T80" fmla="*/ 180 w 186"/>
                <a:gd name="T81" fmla="*/ 47 h 203"/>
                <a:gd name="T82" fmla="*/ 184 w 186"/>
                <a:gd name="T83" fmla="*/ 67 h 203"/>
                <a:gd name="T84" fmla="*/ 165 w 186"/>
                <a:gd name="T85" fmla="*/ 84 h 203"/>
                <a:gd name="T86" fmla="*/ 165 w 186"/>
                <a:gd name="T87" fmla="*/ 104 h 203"/>
                <a:gd name="T88" fmla="*/ 173 w 186"/>
                <a:gd name="T89" fmla="*/ 126 h 203"/>
                <a:gd name="T90" fmla="*/ 185 w 186"/>
                <a:gd name="T91" fmla="*/ 134 h 203"/>
                <a:gd name="T92" fmla="*/ 181 w 186"/>
                <a:gd name="T93" fmla="*/ 163 h 203"/>
                <a:gd name="T94" fmla="*/ 176 w 186"/>
                <a:gd name="T95" fmla="*/ 178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6" h="203">
                  <a:moveTo>
                    <a:pt x="176" y="178"/>
                  </a:moveTo>
                  <a:cubicBezTo>
                    <a:pt x="175" y="179"/>
                    <a:pt x="174" y="180"/>
                    <a:pt x="173" y="180"/>
                  </a:cubicBezTo>
                  <a:cubicBezTo>
                    <a:pt x="167" y="180"/>
                    <a:pt x="160" y="176"/>
                    <a:pt x="153" y="176"/>
                  </a:cubicBezTo>
                  <a:cubicBezTo>
                    <a:pt x="147" y="176"/>
                    <a:pt x="146" y="181"/>
                    <a:pt x="144" y="182"/>
                  </a:cubicBezTo>
                  <a:cubicBezTo>
                    <a:pt x="142" y="184"/>
                    <a:pt x="149" y="196"/>
                    <a:pt x="147" y="198"/>
                  </a:cubicBezTo>
                  <a:cubicBezTo>
                    <a:pt x="145" y="199"/>
                    <a:pt x="138" y="203"/>
                    <a:pt x="133" y="198"/>
                  </a:cubicBezTo>
                  <a:cubicBezTo>
                    <a:pt x="127" y="190"/>
                    <a:pt x="129" y="190"/>
                    <a:pt x="127" y="189"/>
                  </a:cubicBezTo>
                  <a:cubicBezTo>
                    <a:pt x="124" y="188"/>
                    <a:pt x="117" y="188"/>
                    <a:pt x="117" y="188"/>
                  </a:cubicBezTo>
                  <a:cubicBezTo>
                    <a:pt x="113" y="188"/>
                    <a:pt x="112" y="198"/>
                    <a:pt x="112" y="202"/>
                  </a:cubicBezTo>
                  <a:cubicBezTo>
                    <a:pt x="101" y="202"/>
                    <a:pt x="101" y="202"/>
                    <a:pt x="101" y="202"/>
                  </a:cubicBezTo>
                  <a:cubicBezTo>
                    <a:pt x="101" y="202"/>
                    <a:pt x="75" y="198"/>
                    <a:pt x="75" y="194"/>
                  </a:cubicBezTo>
                  <a:cubicBezTo>
                    <a:pt x="74" y="191"/>
                    <a:pt x="85" y="178"/>
                    <a:pt x="89" y="174"/>
                  </a:cubicBezTo>
                  <a:cubicBezTo>
                    <a:pt x="92" y="169"/>
                    <a:pt x="90" y="165"/>
                    <a:pt x="87" y="163"/>
                  </a:cubicBezTo>
                  <a:cubicBezTo>
                    <a:pt x="83" y="161"/>
                    <a:pt x="85" y="150"/>
                    <a:pt x="83" y="148"/>
                  </a:cubicBezTo>
                  <a:cubicBezTo>
                    <a:pt x="81" y="145"/>
                    <a:pt x="74" y="145"/>
                    <a:pt x="69" y="145"/>
                  </a:cubicBezTo>
                  <a:cubicBezTo>
                    <a:pt x="65" y="145"/>
                    <a:pt x="55" y="154"/>
                    <a:pt x="53" y="156"/>
                  </a:cubicBezTo>
                  <a:cubicBezTo>
                    <a:pt x="51" y="159"/>
                    <a:pt x="37" y="154"/>
                    <a:pt x="35" y="154"/>
                  </a:cubicBezTo>
                  <a:cubicBezTo>
                    <a:pt x="22" y="154"/>
                    <a:pt x="22" y="154"/>
                    <a:pt x="22" y="154"/>
                  </a:cubicBezTo>
                  <a:cubicBezTo>
                    <a:pt x="22" y="153"/>
                    <a:pt x="22" y="151"/>
                    <a:pt x="22" y="150"/>
                  </a:cubicBezTo>
                  <a:cubicBezTo>
                    <a:pt x="21" y="148"/>
                    <a:pt x="19" y="140"/>
                    <a:pt x="20" y="135"/>
                  </a:cubicBezTo>
                  <a:cubicBezTo>
                    <a:pt x="21" y="130"/>
                    <a:pt x="24" y="125"/>
                    <a:pt x="24" y="122"/>
                  </a:cubicBezTo>
                  <a:cubicBezTo>
                    <a:pt x="24" y="120"/>
                    <a:pt x="3" y="122"/>
                    <a:pt x="1" y="120"/>
                  </a:cubicBezTo>
                  <a:cubicBezTo>
                    <a:pt x="0" y="117"/>
                    <a:pt x="18" y="101"/>
                    <a:pt x="19" y="98"/>
                  </a:cubicBezTo>
                  <a:cubicBezTo>
                    <a:pt x="21" y="94"/>
                    <a:pt x="21" y="86"/>
                    <a:pt x="19" y="79"/>
                  </a:cubicBezTo>
                  <a:cubicBezTo>
                    <a:pt x="18" y="76"/>
                    <a:pt x="17" y="73"/>
                    <a:pt x="17" y="69"/>
                  </a:cubicBezTo>
                  <a:cubicBezTo>
                    <a:pt x="16" y="63"/>
                    <a:pt x="16" y="55"/>
                    <a:pt x="16" y="48"/>
                  </a:cubicBezTo>
                  <a:cubicBezTo>
                    <a:pt x="16" y="45"/>
                    <a:pt x="17" y="42"/>
                    <a:pt x="17" y="39"/>
                  </a:cubicBezTo>
                  <a:cubicBezTo>
                    <a:pt x="19" y="31"/>
                    <a:pt x="21" y="25"/>
                    <a:pt x="24" y="23"/>
                  </a:cubicBezTo>
                  <a:cubicBezTo>
                    <a:pt x="28" y="20"/>
                    <a:pt x="35" y="14"/>
                    <a:pt x="39" y="14"/>
                  </a:cubicBezTo>
                  <a:cubicBezTo>
                    <a:pt x="42" y="13"/>
                    <a:pt x="47" y="21"/>
                    <a:pt x="51" y="21"/>
                  </a:cubicBezTo>
                  <a:cubicBezTo>
                    <a:pt x="55" y="21"/>
                    <a:pt x="62" y="16"/>
                    <a:pt x="64" y="14"/>
                  </a:cubicBezTo>
                  <a:cubicBezTo>
                    <a:pt x="66" y="11"/>
                    <a:pt x="56" y="2"/>
                    <a:pt x="63" y="1"/>
                  </a:cubicBezTo>
                  <a:cubicBezTo>
                    <a:pt x="71" y="0"/>
                    <a:pt x="88" y="6"/>
                    <a:pt x="96" y="8"/>
                  </a:cubicBezTo>
                  <a:cubicBezTo>
                    <a:pt x="104" y="10"/>
                    <a:pt x="113" y="20"/>
                    <a:pt x="119" y="20"/>
                  </a:cubicBezTo>
                  <a:cubicBezTo>
                    <a:pt x="125" y="20"/>
                    <a:pt x="135" y="12"/>
                    <a:pt x="137" y="14"/>
                  </a:cubicBezTo>
                  <a:cubicBezTo>
                    <a:pt x="139" y="16"/>
                    <a:pt x="141" y="25"/>
                    <a:pt x="144" y="26"/>
                  </a:cubicBezTo>
                  <a:cubicBezTo>
                    <a:pt x="147" y="26"/>
                    <a:pt x="157" y="7"/>
                    <a:pt x="161" y="8"/>
                  </a:cubicBezTo>
                  <a:cubicBezTo>
                    <a:pt x="164" y="10"/>
                    <a:pt x="167" y="22"/>
                    <a:pt x="168" y="25"/>
                  </a:cubicBezTo>
                  <a:cubicBezTo>
                    <a:pt x="169" y="28"/>
                    <a:pt x="164" y="34"/>
                    <a:pt x="167" y="38"/>
                  </a:cubicBezTo>
                  <a:cubicBezTo>
                    <a:pt x="168" y="40"/>
                    <a:pt x="174" y="41"/>
                    <a:pt x="177" y="43"/>
                  </a:cubicBezTo>
                  <a:cubicBezTo>
                    <a:pt x="179" y="44"/>
                    <a:pt x="180" y="45"/>
                    <a:pt x="180" y="47"/>
                  </a:cubicBezTo>
                  <a:cubicBezTo>
                    <a:pt x="180" y="52"/>
                    <a:pt x="186" y="64"/>
                    <a:pt x="184" y="67"/>
                  </a:cubicBezTo>
                  <a:cubicBezTo>
                    <a:pt x="182" y="70"/>
                    <a:pt x="167" y="78"/>
                    <a:pt x="165" y="84"/>
                  </a:cubicBezTo>
                  <a:cubicBezTo>
                    <a:pt x="163" y="89"/>
                    <a:pt x="161" y="99"/>
                    <a:pt x="165" y="104"/>
                  </a:cubicBezTo>
                  <a:cubicBezTo>
                    <a:pt x="169" y="108"/>
                    <a:pt x="173" y="121"/>
                    <a:pt x="173" y="126"/>
                  </a:cubicBezTo>
                  <a:cubicBezTo>
                    <a:pt x="173" y="130"/>
                    <a:pt x="185" y="129"/>
                    <a:pt x="185" y="134"/>
                  </a:cubicBezTo>
                  <a:cubicBezTo>
                    <a:pt x="185" y="138"/>
                    <a:pt x="184" y="158"/>
                    <a:pt x="181" y="163"/>
                  </a:cubicBezTo>
                  <a:cubicBezTo>
                    <a:pt x="179" y="167"/>
                    <a:pt x="178" y="174"/>
                    <a:pt x="176" y="178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2" name="Freeform 201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798824" y="2991416"/>
              <a:ext cx="390227" cy="737297"/>
            </a:xfrm>
            <a:custGeom>
              <a:avLst/>
              <a:gdLst>
                <a:gd name="T0" fmla="*/ 124 w 124"/>
                <a:gd name="T1" fmla="*/ 40 h 235"/>
                <a:gd name="T2" fmla="*/ 120 w 124"/>
                <a:gd name="T3" fmla="*/ 59 h 235"/>
                <a:gd name="T4" fmla="*/ 106 w 124"/>
                <a:gd name="T5" fmla="*/ 62 h 235"/>
                <a:gd name="T6" fmla="*/ 96 w 124"/>
                <a:gd name="T7" fmla="*/ 90 h 235"/>
                <a:gd name="T8" fmla="*/ 113 w 124"/>
                <a:gd name="T9" fmla="*/ 110 h 235"/>
                <a:gd name="T10" fmla="*/ 107 w 124"/>
                <a:gd name="T11" fmla="*/ 136 h 235"/>
                <a:gd name="T12" fmla="*/ 98 w 124"/>
                <a:gd name="T13" fmla="*/ 151 h 235"/>
                <a:gd name="T14" fmla="*/ 106 w 124"/>
                <a:gd name="T15" fmla="*/ 166 h 235"/>
                <a:gd name="T16" fmla="*/ 103 w 124"/>
                <a:gd name="T17" fmla="*/ 193 h 235"/>
                <a:gd name="T18" fmla="*/ 83 w 124"/>
                <a:gd name="T19" fmla="*/ 206 h 235"/>
                <a:gd name="T20" fmla="*/ 55 w 124"/>
                <a:gd name="T21" fmla="*/ 212 h 235"/>
                <a:gd name="T22" fmla="*/ 17 w 124"/>
                <a:gd name="T23" fmla="*/ 235 h 235"/>
                <a:gd name="T24" fmla="*/ 1 w 124"/>
                <a:gd name="T25" fmla="*/ 235 h 235"/>
                <a:gd name="T26" fmla="*/ 0 w 124"/>
                <a:gd name="T27" fmla="*/ 226 h 235"/>
                <a:gd name="T28" fmla="*/ 9 w 124"/>
                <a:gd name="T29" fmla="*/ 194 h 235"/>
                <a:gd name="T30" fmla="*/ 2 w 124"/>
                <a:gd name="T31" fmla="*/ 148 h 235"/>
                <a:gd name="T32" fmla="*/ 13 w 124"/>
                <a:gd name="T33" fmla="*/ 122 h 235"/>
                <a:gd name="T34" fmla="*/ 7 w 124"/>
                <a:gd name="T35" fmla="*/ 99 h 235"/>
                <a:gd name="T36" fmla="*/ 18 w 124"/>
                <a:gd name="T37" fmla="*/ 78 h 235"/>
                <a:gd name="T38" fmla="*/ 24 w 124"/>
                <a:gd name="T39" fmla="*/ 51 h 235"/>
                <a:gd name="T40" fmla="*/ 33 w 124"/>
                <a:gd name="T41" fmla="*/ 48 h 235"/>
                <a:gd name="T42" fmla="*/ 44 w 124"/>
                <a:gd name="T43" fmla="*/ 44 h 235"/>
                <a:gd name="T44" fmla="*/ 56 w 124"/>
                <a:gd name="T45" fmla="*/ 16 h 235"/>
                <a:gd name="T46" fmla="*/ 73 w 124"/>
                <a:gd name="T47" fmla="*/ 18 h 235"/>
                <a:gd name="T48" fmla="*/ 102 w 124"/>
                <a:gd name="T49" fmla="*/ 4 h 235"/>
                <a:gd name="T50" fmla="*/ 111 w 124"/>
                <a:gd name="T51" fmla="*/ 0 h 235"/>
                <a:gd name="T52" fmla="*/ 117 w 124"/>
                <a:gd name="T53" fmla="*/ 10 h 235"/>
                <a:gd name="T54" fmla="*/ 106 w 124"/>
                <a:gd name="T55" fmla="*/ 26 h 235"/>
                <a:gd name="T56" fmla="*/ 124 w 124"/>
                <a:gd name="T57" fmla="*/ 4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4" h="235">
                  <a:moveTo>
                    <a:pt x="124" y="40"/>
                  </a:moveTo>
                  <a:cubicBezTo>
                    <a:pt x="124" y="43"/>
                    <a:pt x="124" y="53"/>
                    <a:pt x="120" y="59"/>
                  </a:cubicBezTo>
                  <a:cubicBezTo>
                    <a:pt x="116" y="65"/>
                    <a:pt x="108" y="60"/>
                    <a:pt x="106" y="62"/>
                  </a:cubicBezTo>
                  <a:cubicBezTo>
                    <a:pt x="103" y="65"/>
                    <a:pt x="97" y="82"/>
                    <a:pt x="96" y="90"/>
                  </a:cubicBezTo>
                  <a:cubicBezTo>
                    <a:pt x="94" y="97"/>
                    <a:pt x="110" y="104"/>
                    <a:pt x="113" y="110"/>
                  </a:cubicBezTo>
                  <a:cubicBezTo>
                    <a:pt x="116" y="117"/>
                    <a:pt x="108" y="132"/>
                    <a:pt x="107" y="136"/>
                  </a:cubicBezTo>
                  <a:cubicBezTo>
                    <a:pt x="105" y="143"/>
                    <a:pt x="98" y="147"/>
                    <a:pt x="98" y="151"/>
                  </a:cubicBezTo>
                  <a:cubicBezTo>
                    <a:pt x="98" y="155"/>
                    <a:pt x="106" y="166"/>
                    <a:pt x="106" y="166"/>
                  </a:cubicBezTo>
                  <a:cubicBezTo>
                    <a:pt x="102" y="168"/>
                    <a:pt x="105" y="184"/>
                    <a:pt x="103" y="193"/>
                  </a:cubicBezTo>
                  <a:cubicBezTo>
                    <a:pt x="101" y="202"/>
                    <a:pt x="89" y="204"/>
                    <a:pt x="83" y="206"/>
                  </a:cubicBezTo>
                  <a:cubicBezTo>
                    <a:pt x="77" y="209"/>
                    <a:pt x="59" y="209"/>
                    <a:pt x="55" y="212"/>
                  </a:cubicBezTo>
                  <a:cubicBezTo>
                    <a:pt x="51" y="216"/>
                    <a:pt x="22" y="234"/>
                    <a:pt x="17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0" y="232"/>
                    <a:pt x="0" y="229"/>
                    <a:pt x="0" y="226"/>
                  </a:cubicBezTo>
                  <a:cubicBezTo>
                    <a:pt x="0" y="213"/>
                    <a:pt x="7" y="201"/>
                    <a:pt x="9" y="194"/>
                  </a:cubicBezTo>
                  <a:cubicBezTo>
                    <a:pt x="12" y="188"/>
                    <a:pt x="3" y="155"/>
                    <a:pt x="2" y="148"/>
                  </a:cubicBezTo>
                  <a:cubicBezTo>
                    <a:pt x="1" y="141"/>
                    <a:pt x="9" y="129"/>
                    <a:pt x="13" y="122"/>
                  </a:cubicBezTo>
                  <a:cubicBezTo>
                    <a:pt x="17" y="116"/>
                    <a:pt x="7" y="108"/>
                    <a:pt x="7" y="99"/>
                  </a:cubicBezTo>
                  <a:cubicBezTo>
                    <a:pt x="6" y="91"/>
                    <a:pt x="16" y="85"/>
                    <a:pt x="18" y="78"/>
                  </a:cubicBezTo>
                  <a:cubicBezTo>
                    <a:pt x="21" y="71"/>
                    <a:pt x="24" y="55"/>
                    <a:pt x="24" y="51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41" y="46"/>
                    <a:pt x="44" y="44"/>
                  </a:cubicBezTo>
                  <a:cubicBezTo>
                    <a:pt x="48" y="42"/>
                    <a:pt x="50" y="17"/>
                    <a:pt x="56" y="16"/>
                  </a:cubicBezTo>
                  <a:cubicBezTo>
                    <a:pt x="62" y="14"/>
                    <a:pt x="68" y="21"/>
                    <a:pt x="73" y="18"/>
                  </a:cubicBezTo>
                  <a:cubicBezTo>
                    <a:pt x="78" y="16"/>
                    <a:pt x="102" y="4"/>
                    <a:pt x="102" y="4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4" y="4"/>
                    <a:pt x="116" y="8"/>
                    <a:pt x="117" y="10"/>
                  </a:cubicBezTo>
                  <a:cubicBezTo>
                    <a:pt x="119" y="14"/>
                    <a:pt x="105" y="15"/>
                    <a:pt x="106" y="26"/>
                  </a:cubicBezTo>
                  <a:cubicBezTo>
                    <a:pt x="107" y="30"/>
                    <a:pt x="124" y="36"/>
                    <a:pt x="124" y="40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3" name="Freeform 202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95146" y="2730335"/>
              <a:ext cx="584297" cy="795779"/>
            </a:xfrm>
            <a:custGeom>
              <a:avLst/>
              <a:gdLst>
                <a:gd name="T0" fmla="*/ 12 w 186"/>
                <a:gd name="T1" fmla="*/ 249 h 253"/>
                <a:gd name="T2" fmla="*/ 4 w 186"/>
                <a:gd name="T3" fmla="*/ 234 h 253"/>
                <a:gd name="T4" fmla="*/ 13 w 186"/>
                <a:gd name="T5" fmla="*/ 219 h 253"/>
                <a:gd name="T6" fmla="*/ 19 w 186"/>
                <a:gd name="T7" fmla="*/ 193 h 253"/>
                <a:gd name="T8" fmla="*/ 2 w 186"/>
                <a:gd name="T9" fmla="*/ 173 h 253"/>
                <a:gd name="T10" fmla="*/ 12 w 186"/>
                <a:gd name="T11" fmla="*/ 145 h 253"/>
                <a:gd name="T12" fmla="*/ 26 w 186"/>
                <a:gd name="T13" fmla="*/ 142 h 253"/>
                <a:gd name="T14" fmla="*/ 30 w 186"/>
                <a:gd name="T15" fmla="*/ 123 h 253"/>
                <a:gd name="T16" fmla="*/ 12 w 186"/>
                <a:gd name="T17" fmla="*/ 109 h 253"/>
                <a:gd name="T18" fmla="*/ 23 w 186"/>
                <a:gd name="T19" fmla="*/ 93 h 253"/>
                <a:gd name="T20" fmla="*/ 17 w 186"/>
                <a:gd name="T21" fmla="*/ 83 h 253"/>
                <a:gd name="T22" fmla="*/ 9 w 186"/>
                <a:gd name="T23" fmla="*/ 64 h 253"/>
                <a:gd name="T24" fmla="*/ 25 w 186"/>
                <a:gd name="T25" fmla="*/ 25 h 253"/>
                <a:gd name="T26" fmla="*/ 37 w 186"/>
                <a:gd name="T27" fmla="*/ 24 h 253"/>
                <a:gd name="T28" fmla="*/ 42 w 186"/>
                <a:gd name="T29" fmla="*/ 45 h 253"/>
                <a:gd name="T30" fmla="*/ 62 w 186"/>
                <a:gd name="T31" fmla="*/ 33 h 253"/>
                <a:gd name="T32" fmla="*/ 91 w 186"/>
                <a:gd name="T33" fmla="*/ 30 h 253"/>
                <a:gd name="T34" fmla="*/ 92 w 186"/>
                <a:gd name="T35" fmla="*/ 11 h 253"/>
                <a:gd name="T36" fmla="*/ 114 w 186"/>
                <a:gd name="T37" fmla="*/ 0 h 253"/>
                <a:gd name="T38" fmla="*/ 137 w 186"/>
                <a:gd name="T39" fmla="*/ 49 h 253"/>
                <a:gd name="T40" fmla="*/ 156 w 186"/>
                <a:gd name="T41" fmla="*/ 49 h 253"/>
                <a:gd name="T42" fmla="*/ 157 w 186"/>
                <a:gd name="T43" fmla="*/ 57 h 253"/>
                <a:gd name="T44" fmla="*/ 160 w 186"/>
                <a:gd name="T45" fmla="*/ 72 h 253"/>
                <a:gd name="T46" fmla="*/ 175 w 186"/>
                <a:gd name="T47" fmla="*/ 79 h 253"/>
                <a:gd name="T48" fmla="*/ 182 w 186"/>
                <a:gd name="T49" fmla="*/ 90 h 253"/>
                <a:gd name="T50" fmla="*/ 186 w 186"/>
                <a:gd name="T51" fmla="*/ 96 h 253"/>
                <a:gd name="T52" fmla="*/ 171 w 186"/>
                <a:gd name="T53" fmla="*/ 110 h 253"/>
                <a:gd name="T54" fmla="*/ 165 w 186"/>
                <a:gd name="T55" fmla="*/ 129 h 253"/>
                <a:gd name="T56" fmla="*/ 155 w 186"/>
                <a:gd name="T57" fmla="*/ 131 h 253"/>
                <a:gd name="T58" fmla="*/ 145 w 186"/>
                <a:gd name="T59" fmla="*/ 135 h 253"/>
                <a:gd name="T60" fmla="*/ 139 w 186"/>
                <a:gd name="T61" fmla="*/ 132 h 253"/>
                <a:gd name="T62" fmla="*/ 135 w 186"/>
                <a:gd name="T63" fmla="*/ 131 h 253"/>
                <a:gd name="T64" fmla="*/ 134 w 186"/>
                <a:gd name="T65" fmla="*/ 125 h 253"/>
                <a:gd name="T66" fmla="*/ 128 w 186"/>
                <a:gd name="T67" fmla="*/ 114 h 253"/>
                <a:gd name="T68" fmla="*/ 123 w 186"/>
                <a:gd name="T69" fmla="*/ 101 h 253"/>
                <a:gd name="T70" fmla="*/ 112 w 186"/>
                <a:gd name="T71" fmla="*/ 93 h 253"/>
                <a:gd name="T72" fmla="*/ 112 w 186"/>
                <a:gd name="T73" fmla="*/ 75 h 253"/>
                <a:gd name="T74" fmla="*/ 102 w 186"/>
                <a:gd name="T75" fmla="*/ 73 h 253"/>
                <a:gd name="T76" fmla="*/ 87 w 186"/>
                <a:gd name="T77" fmla="*/ 64 h 253"/>
                <a:gd name="T78" fmla="*/ 68 w 186"/>
                <a:gd name="T79" fmla="*/ 81 h 253"/>
                <a:gd name="T80" fmla="*/ 71 w 186"/>
                <a:gd name="T81" fmla="*/ 96 h 253"/>
                <a:gd name="T82" fmla="*/ 61 w 186"/>
                <a:gd name="T83" fmla="*/ 101 h 253"/>
                <a:gd name="T84" fmla="*/ 57 w 186"/>
                <a:gd name="T85" fmla="*/ 117 h 253"/>
                <a:gd name="T86" fmla="*/ 70 w 186"/>
                <a:gd name="T87" fmla="*/ 123 h 253"/>
                <a:gd name="T88" fmla="*/ 98 w 186"/>
                <a:gd name="T89" fmla="*/ 119 h 253"/>
                <a:gd name="T90" fmla="*/ 98 w 186"/>
                <a:gd name="T91" fmla="*/ 135 h 253"/>
                <a:gd name="T92" fmla="*/ 96 w 186"/>
                <a:gd name="T93" fmla="*/ 149 h 253"/>
                <a:gd name="T94" fmla="*/ 111 w 186"/>
                <a:gd name="T95" fmla="*/ 154 h 253"/>
                <a:gd name="T96" fmla="*/ 123 w 186"/>
                <a:gd name="T97" fmla="*/ 154 h 253"/>
                <a:gd name="T98" fmla="*/ 132 w 186"/>
                <a:gd name="T99" fmla="*/ 166 h 253"/>
                <a:gd name="T100" fmla="*/ 123 w 186"/>
                <a:gd name="T101" fmla="*/ 183 h 253"/>
                <a:gd name="T102" fmla="*/ 102 w 186"/>
                <a:gd name="T103" fmla="*/ 187 h 253"/>
                <a:gd name="T104" fmla="*/ 87 w 186"/>
                <a:gd name="T105" fmla="*/ 201 h 253"/>
                <a:gd name="T106" fmla="*/ 66 w 186"/>
                <a:gd name="T107" fmla="*/ 229 h 253"/>
                <a:gd name="T108" fmla="*/ 63 w 186"/>
                <a:gd name="T109" fmla="*/ 251 h 253"/>
                <a:gd name="T110" fmla="*/ 63 w 186"/>
                <a:gd name="T111" fmla="*/ 251 h 253"/>
                <a:gd name="T112" fmla="*/ 51 w 186"/>
                <a:gd name="T113" fmla="*/ 253 h 253"/>
                <a:gd name="T114" fmla="*/ 31 w 186"/>
                <a:gd name="T115" fmla="*/ 252 h 253"/>
                <a:gd name="T116" fmla="*/ 12 w 186"/>
                <a:gd name="T117" fmla="*/ 24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" h="253">
                  <a:moveTo>
                    <a:pt x="12" y="249"/>
                  </a:moveTo>
                  <a:cubicBezTo>
                    <a:pt x="12" y="249"/>
                    <a:pt x="4" y="238"/>
                    <a:pt x="4" y="234"/>
                  </a:cubicBezTo>
                  <a:cubicBezTo>
                    <a:pt x="4" y="230"/>
                    <a:pt x="11" y="226"/>
                    <a:pt x="13" y="219"/>
                  </a:cubicBezTo>
                  <a:cubicBezTo>
                    <a:pt x="14" y="215"/>
                    <a:pt x="22" y="200"/>
                    <a:pt x="19" y="193"/>
                  </a:cubicBezTo>
                  <a:cubicBezTo>
                    <a:pt x="16" y="187"/>
                    <a:pt x="0" y="180"/>
                    <a:pt x="2" y="173"/>
                  </a:cubicBezTo>
                  <a:cubicBezTo>
                    <a:pt x="3" y="165"/>
                    <a:pt x="9" y="148"/>
                    <a:pt x="12" y="145"/>
                  </a:cubicBezTo>
                  <a:cubicBezTo>
                    <a:pt x="14" y="143"/>
                    <a:pt x="22" y="148"/>
                    <a:pt x="26" y="142"/>
                  </a:cubicBezTo>
                  <a:cubicBezTo>
                    <a:pt x="30" y="136"/>
                    <a:pt x="30" y="126"/>
                    <a:pt x="30" y="123"/>
                  </a:cubicBezTo>
                  <a:cubicBezTo>
                    <a:pt x="30" y="119"/>
                    <a:pt x="13" y="113"/>
                    <a:pt x="12" y="109"/>
                  </a:cubicBezTo>
                  <a:cubicBezTo>
                    <a:pt x="11" y="98"/>
                    <a:pt x="25" y="97"/>
                    <a:pt x="23" y="93"/>
                  </a:cubicBezTo>
                  <a:cubicBezTo>
                    <a:pt x="22" y="91"/>
                    <a:pt x="20" y="87"/>
                    <a:pt x="17" y="83"/>
                  </a:cubicBezTo>
                  <a:cubicBezTo>
                    <a:pt x="13" y="75"/>
                    <a:pt x="8" y="66"/>
                    <a:pt x="9" y="64"/>
                  </a:cubicBezTo>
                  <a:cubicBezTo>
                    <a:pt x="10" y="60"/>
                    <a:pt x="21" y="27"/>
                    <a:pt x="25" y="25"/>
                  </a:cubicBezTo>
                  <a:cubicBezTo>
                    <a:pt x="29" y="23"/>
                    <a:pt x="33" y="23"/>
                    <a:pt x="37" y="24"/>
                  </a:cubicBezTo>
                  <a:cubicBezTo>
                    <a:pt x="41" y="25"/>
                    <a:pt x="38" y="45"/>
                    <a:pt x="42" y="45"/>
                  </a:cubicBezTo>
                  <a:cubicBezTo>
                    <a:pt x="45" y="45"/>
                    <a:pt x="58" y="33"/>
                    <a:pt x="62" y="33"/>
                  </a:cubicBezTo>
                  <a:cubicBezTo>
                    <a:pt x="66" y="32"/>
                    <a:pt x="88" y="30"/>
                    <a:pt x="91" y="30"/>
                  </a:cubicBezTo>
                  <a:cubicBezTo>
                    <a:pt x="94" y="30"/>
                    <a:pt x="86" y="11"/>
                    <a:pt x="92" y="11"/>
                  </a:cubicBezTo>
                  <a:cubicBezTo>
                    <a:pt x="99" y="10"/>
                    <a:pt x="109" y="0"/>
                    <a:pt x="114" y="0"/>
                  </a:cubicBezTo>
                  <a:cubicBezTo>
                    <a:pt x="120" y="0"/>
                    <a:pt x="133" y="49"/>
                    <a:pt x="137" y="49"/>
                  </a:cubicBezTo>
                  <a:cubicBezTo>
                    <a:pt x="140" y="48"/>
                    <a:pt x="149" y="49"/>
                    <a:pt x="156" y="49"/>
                  </a:cubicBezTo>
                  <a:cubicBezTo>
                    <a:pt x="157" y="57"/>
                    <a:pt x="157" y="57"/>
                    <a:pt x="157" y="57"/>
                  </a:cubicBezTo>
                  <a:cubicBezTo>
                    <a:pt x="156" y="63"/>
                    <a:pt x="156" y="70"/>
                    <a:pt x="160" y="72"/>
                  </a:cubicBezTo>
                  <a:cubicBezTo>
                    <a:pt x="164" y="74"/>
                    <a:pt x="172" y="75"/>
                    <a:pt x="175" y="79"/>
                  </a:cubicBezTo>
                  <a:cubicBezTo>
                    <a:pt x="178" y="83"/>
                    <a:pt x="182" y="90"/>
                    <a:pt x="182" y="90"/>
                  </a:cubicBezTo>
                  <a:cubicBezTo>
                    <a:pt x="186" y="96"/>
                    <a:pt x="186" y="96"/>
                    <a:pt x="186" y="96"/>
                  </a:cubicBezTo>
                  <a:cubicBezTo>
                    <a:pt x="181" y="100"/>
                    <a:pt x="173" y="107"/>
                    <a:pt x="171" y="110"/>
                  </a:cubicBezTo>
                  <a:cubicBezTo>
                    <a:pt x="170" y="114"/>
                    <a:pt x="169" y="126"/>
                    <a:pt x="165" y="129"/>
                  </a:cubicBezTo>
                  <a:cubicBezTo>
                    <a:pt x="163" y="132"/>
                    <a:pt x="159" y="131"/>
                    <a:pt x="155" y="131"/>
                  </a:cubicBezTo>
                  <a:cubicBezTo>
                    <a:pt x="151" y="130"/>
                    <a:pt x="150" y="134"/>
                    <a:pt x="145" y="135"/>
                  </a:cubicBezTo>
                  <a:cubicBezTo>
                    <a:pt x="141" y="136"/>
                    <a:pt x="143" y="134"/>
                    <a:pt x="139" y="132"/>
                  </a:cubicBezTo>
                  <a:cubicBezTo>
                    <a:pt x="137" y="131"/>
                    <a:pt x="136" y="131"/>
                    <a:pt x="135" y="131"/>
                  </a:cubicBezTo>
                  <a:cubicBezTo>
                    <a:pt x="134" y="125"/>
                    <a:pt x="134" y="125"/>
                    <a:pt x="134" y="125"/>
                  </a:cubicBezTo>
                  <a:cubicBezTo>
                    <a:pt x="134" y="125"/>
                    <a:pt x="132" y="117"/>
                    <a:pt x="128" y="114"/>
                  </a:cubicBezTo>
                  <a:cubicBezTo>
                    <a:pt x="124" y="111"/>
                    <a:pt x="127" y="102"/>
                    <a:pt x="123" y="101"/>
                  </a:cubicBezTo>
                  <a:cubicBezTo>
                    <a:pt x="119" y="99"/>
                    <a:pt x="114" y="91"/>
                    <a:pt x="112" y="93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1" y="71"/>
                    <a:pt x="108" y="73"/>
                    <a:pt x="102" y="73"/>
                  </a:cubicBezTo>
                  <a:cubicBezTo>
                    <a:pt x="97" y="73"/>
                    <a:pt x="90" y="62"/>
                    <a:pt x="87" y="64"/>
                  </a:cubicBezTo>
                  <a:cubicBezTo>
                    <a:pt x="84" y="66"/>
                    <a:pt x="70" y="78"/>
                    <a:pt x="68" y="81"/>
                  </a:cubicBezTo>
                  <a:cubicBezTo>
                    <a:pt x="66" y="83"/>
                    <a:pt x="72" y="93"/>
                    <a:pt x="71" y="96"/>
                  </a:cubicBezTo>
                  <a:cubicBezTo>
                    <a:pt x="70" y="99"/>
                    <a:pt x="64" y="99"/>
                    <a:pt x="61" y="101"/>
                  </a:cubicBezTo>
                  <a:cubicBezTo>
                    <a:pt x="58" y="102"/>
                    <a:pt x="57" y="115"/>
                    <a:pt x="57" y="117"/>
                  </a:cubicBezTo>
                  <a:cubicBezTo>
                    <a:pt x="57" y="120"/>
                    <a:pt x="66" y="123"/>
                    <a:pt x="70" y="123"/>
                  </a:cubicBezTo>
                  <a:cubicBezTo>
                    <a:pt x="98" y="119"/>
                    <a:pt x="98" y="119"/>
                    <a:pt x="98" y="119"/>
                  </a:cubicBezTo>
                  <a:cubicBezTo>
                    <a:pt x="99" y="125"/>
                    <a:pt x="100" y="132"/>
                    <a:pt x="98" y="135"/>
                  </a:cubicBezTo>
                  <a:cubicBezTo>
                    <a:pt x="96" y="138"/>
                    <a:pt x="93" y="141"/>
                    <a:pt x="96" y="149"/>
                  </a:cubicBezTo>
                  <a:cubicBezTo>
                    <a:pt x="100" y="157"/>
                    <a:pt x="111" y="154"/>
                    <a:pt x="111" y="154"/>
                  </a:cubicBezTo>
                  <a:cubicBezTo>
                    <a:pt x="123" y="154"/>
                    <a:pt x="123" y="154"/>
                    <a:pt x="123" y="154"/>
                  </a:cubicBezTo>
                  <a:cubicBezTo>
                    <a:pt x="123" y="159"/>
                    <a:pt x="127" y="163"/>
                    <a:pt x="132" y="166"/>
                  </a:cubicBezTo>
                  <a:cubicBezTo>
                    <a:pt x="123" y="183"/>
                    <a:pt x="123" y="183"/>
                    <a:pt x="123" y="183"/>
                  </a:cubicBezTo>
                  <a:cubicBezTo>
                    <a:pt x="120" y="187"/>
                    <a:pt x="104" y="185"/>
                    <a:pt x="102" y="187"/>
                  </a:cubicBezTo>
                  <a:cubicBezTo>
                    <a:pt x="100" y="190"/>
                    <a:pt x="90" y="198"/>
                    <a:pt x="87" y="201"/>
                  </a:cubicBezTo>
                  <a:cubicBezTo>
                    <a:pt x="84" y="205"/>
                    <a:pt x="75" y="222"/>
                    <a:pt x="66" y="229"/>
                  </a:cubicBezTo>
                  <a:cubicBezTo>
                    <a:pt x="60" y="235"/>
                    <a:pt x="61" y="245"/>
                    <a:pt x="63" y="251"/>
                  </a:cubicBezTo>
                  <a:cubicBezTo>
                    <a:pt x="63" y="251"/>
                    <a:pt x="63" y="251"/>
                    <a:pt x="63" y="251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51" y="253"/>
                    <a:pt x="38" y="252"/>
                    <a:pt x="31" y="252"/>
                  </a:cubicBezTo>
                  <a:cubicBezTo>
                    <a:pt x="24" y="252"/>
                    <a:pt x="16" y="247"/>
                    <a:pt x="12" y="249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4" name="Freeform 203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3160271" y="4722916"/>
              <a:ext cx="840970" cy="601534"/>
            </a:xfrm>
            <a:custGeom>
              <a:avLst/>
              <a:gdLst>
                <a:gd name="T0" fmla="*/ 265 w 268"/>
                <a:gd name="T1" fmla="*/ 57 h 191"/>
                <a:gd name="T2" fmla="*/ 264 w 268"/>
                <a:gd name="T3" fmla="*/ 78 h 191"/>
                <a:gd name="T4" fmla="*/ 250 w 268"/>
                <a:gd name="T5" fmla="*/ 98 h 191"/>
                <a:gd name="T6" fmla="*/ 244 w 268"/>
                <a:gd name="T7" fmla="*/ 113 h 191"/>
                <a:gd name="T8" fmla="*/ 239 w 268"/>
                <a:gd name="T9" fmla="*/ 134 h 191"/>
                <a:gd name="T10" fmla="*/ 222 w 268"/>
                <a:gd name="T11" fmla="*/ 145 h 191"/>
                <a:gd name="T12" fmla="*/ 210 w 268"/>
                <a:gd name="T13" fmla="*/ 165 h 191"/>
                <a:gd name="T14" fmla="*/ 192 w 268"/>
                <a:gd name="T15" fmla="*/ 172 h 191"/>
                <a:gd name="T16" fmla="*/ 186 w 268"/>
                <a:gd name="T17" fmla="*/ 179 h 191"/>
                <a:gd name="T18" fmla="*/ 178 w 268"/>
                <a:gd name="T19" fmla="*/ 175 h 191"/>
                <a:gd name="T20" fmla="*/ 174 w 268"/>
                <a:gd name="T21" fmla="*/ 189 h 191"/>
                <a:gd name="T22" fmla="*/ 158 w 268"/>
                <a:gd name="T23" fmla="*/ 191 h 191"/>
                <a:gd name="T24" fmla="*/ 160 w 268"/>
                <a:gd name="T25" fmla="*/ 180 h 191"/>
                <a:gd name="T26" fmla="*/ 152 w 268"/>
                <a:gd name="T27" fmla="*/ 179 h 191"/>
                <a:gd name="T28" fmla="*/ 140 w 268"/>
                <a:gd name="T29" fmla="*/ 168 h 191"/>
                <a:gd name="T30" fmla="*/ 139 w 268"/>
                <a:gd name="T31" fmla="*/ 178 h 191"/>
                <a:gd name="T32" fmla="*/ 130 w 268"/>
                <a:gd name="T33" fmla="*/ 183 h 191"/>
                <a:gd name="T34" fmla="*/ 119 w 268"/>
                <a:gd name="T35" fmla="*/ 179 h 191"/>
                <a:gd name="T36" fmla="*/ 101 w 268"/>
                <a:gd name="T37" fmla="*/ 178 h 191"/>
                <a:gd name="T38" fmla="*/ 89 w 268"/>
                <a:gd name="T39" fmla="*/ 168 h 191"/>
                <a:gd name="T40" fmla="*/ 77 w 268"/>
                <a:gd name="T41" fmla="*/ 163 h 191"/>
                <a:gd name="T42" fmla="*/ 72 w 268"/>
                <a:gd name="T43" fmla="*/ 145 h 191"/>
                <a:gd name="T44" fmla="*/ 81 w 268"/>
                <a:gd name="T45" fmla="*/ 133 h 191"/>
                <a:gd name="T46" fmla="*/ 71 w 268"/>
                <a:gd name="T47" fmla="*/ 128 h 191"/>
                <a:gd name="T48" fmla="*/ 47 w 268"/>
                <a:gd name="T49" fmla="*/ 128 h 191"/>
                <a:gd name="T50" fmla="*/ 36 w 268"/>
                <a:gd name="T51" fmla="*/ 117 h 191"/>
                <a:gd name="T52" fmla="*/ 49 w 268"/>
                <a:gd name="T53" fmla="*/ 106 h 191"/>
                <a:gd name="T54" fmla="*/ 59 w 268"/>
                <a:gd name="T55" fmla="*/ 102 h 191"/>
                <a:gd name="T56" fmla="*/ 56 w 268"/>
                <a:gd name="T57" fmla="*/ 84 h 191"/>
                <a:gd name="T58" fmla="*/ 29 w 268"/>
                <a:gd name="T59" fmla="*/ 83 h 191"/>
                <a:gd name="T60" fmla="*/ 24 w 268"/>
                <a:gd name="T61" fmla="*/ 72 h 191"/>
                <a:gd name="T62" fmla="*/ 9 w 268"/>
                <a:gd name="T63" fmla="*/ 70 h 191"/>
                <a:gd name="T64" fmla="*/ 0 w 268"/>
                <a:gd name="T65" fmla="*/ 58 h 191"/>
                <a:gd name="T66" fmla="*/ 2 w 268"/>
                <a:gd name="T67" fmla="*/ 53 h 191"/>
                <a:gd name="T68" fmla="*/ 14 w 268"/>
                <a:gd name="T69" fmla="*/ 57 h 191"/>
                <a:gd name="T70" fmla="*/ 27 w 268"/>
                <a:gd name="T71" fmla="*/ 47 h 191"/>
                <a:gd name="T72" fmla="*/ 58 w 268"/>
                <a:gd name="T73" fmla="*/ 61 h 191"/>
                <a:gd name="T74" fmla="*/ 64 w 268"/>
                <a:gd name="T75" fmla="*/ 47 h 191"/>
                <a:gd name="T76" fmla="*/ 97 w 268"/>
                <a:gd name="T77" fmla="*/ 31 h 191"/>
                <a:gd name="T78" fmla="*/ 115 w 268"/>
                <a:gd name="T79" fmla="*/ 44 h 191"/>
                <a:gd name="T80" fmla="*/ 142 w 268"/>
                <a:gd name="T81" fmla="*/ 37 h 191"/>
                <a:gd name="T82" fmla="*/ 170 w 268"/>
                <a:gd name="T83" fmla="*/ 19 h 191"/>
                <a:gd name="T84" fmla="*/ 175 w 268"/>
                <a:gd name="T85" fmla="*/ 9 h 191"/>
                <a:gd name="T86" fmla="*/ 188 w 268"/>
                <a:gd name="T87" fmla="*/ 9 h 191"/>
                <a:gd name="T88" fmla="*/ 206 w 268"/>
                <a:gd name="T89" fmla="*/ 11 h 191"/>
                <a:gd name="T90" fmla="*/ 222 w 268"/>
                <a:gd name="T91" fmla="*/ 0 h 191"/>
                <a:gd name="T92" fmla="*/ 236 w 268"/>
                <a:gd name="T93" fmla="*/ 3 h 191"/>
                <a:gd name="T94" fmla="*/ 240 w 268"/>
                <a:gd name="T95" fmla="*/ 18 h 191"/>
                <a:gd name="T96" fmla="*/ 242 w 268"/>
                <a:gd name="T97" fmla="*/ 29 h 191"/>
                <a:gd name="T98" fmla="*/ 228 w 268"/>
                <a:gd name="T99" fmla="*/ 49 h 191"/>
                <a:gd name="T100" fmla="*/ 254 w 268"/>
                <a:gd name="T101" fmla="*/ 57 h 191"/>
                <a:gd name="T102" fmla="*/ 265 w 268"/>
                <a:gd name="T103" fmla="*/ 57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8" h="191">
                  <a:moveTo>
                    <a:pt x="265" y="57"/>
                  </a:moveTo>
                  <a:cubicBezTo>
                    <a:pt x="265" y="60"/>
                    <a:pt x="268" y="74"/>
                    <a:pt x="264" y="78"/>
                  </a:cubicBezTo>
                  <a:cubicBezTo>
                    <a:pt x="260" y="82"/>
                    <a:pt x="254" y="95"/>
                    <a:pt x="250" y="98"/>
                  </a:cubicBezTo>
                  <a:cubicBezTo>
                    <a:pt x="247" y="101"/>
                    <a:pt x="244" y="107"/>
                    <a:pt x="244" y="113"/>
                  </a:cubicBezTo>
                  <a:cubicBezTo>
                    <a:pt x="244" y="120"/>
                    <a:pt x="244" y="129"/>
                    <a:pt x="239" y="134"/>
                  </a:cubicBezTo>
                  <a:cubicBezTo>
                    <a:pt x="234" y="139"/>
                    <a:pt x="227" y="142"/>
                    <a:pt x="222" y="145"/>
                  </a:cubicBezTo>
                  <a:cubicBezTo>
                    <a:pt x="216" y="149"/>
                    <a:pt x="216" y="163"/>
                    <a:pt x="210" y="165"/>
                  </a:cubicBezTo>
                  <a:cubicBezTo>
                    <a:pt x="203" y="167"/>
                    <a:pt x="194" y="167"/>
                    <a:pt x="192" y="172"/>
                  </a:cubicBezTo>
                  <a:cubicBezTo>
                    <a:pt x="186" y="179"/>
                    <a:pt x="186" y="179"/>
                    <a:pt x="186" y="179"/>
                  </a:cubicBezTo>
                  <a:cubicBezTo>
                    <a:pt x="183" y="177"/>
                    <a:pt x="179" y="175"/>
                    <a:pt x="178" y="175"/>
                  </a:cubicBezTo>
                  <a:cubicBezTo>
                    <a:pt x="175" y="176"/>
                    <a:pt x="176" y="188"/>
                    <a:pt x="174" y="189"/>
                  </a:cubicBezTo>
                  <a:cubicBezTo>
                    <a:pt x="171" y="191"/>
                    <a:pt x="162" y="191"/>
                    <a:pt x="158" y="191"/>
                  </a:cubicBezTo>
                  <a:cubicBezTo>
                    <a:pt x="155" y="191"/>
                    <a:pt x="170" y="181"/>
                    <a:pt x="160" y="180"/>
                  </a:cubicBezTo>
                  <a:cubicBezTo>
                    <a:pt x="157" y="180"/>
                    <a:pt x="154" y="181"/>
                    <a:pt x="152" y="179"/>
                  </a:cubicBezTo>
                  <a:cubicBezTo>
                    <a:pt x="150" y="177"/>
                    <a:pt x="143" y="168"/>
                    <a:pt x="140" y="168"/>
                  </a:cubicBezTo>
                  <a:cubicBezTo>
                    <a:pt x="133" y="168"/>
                    <a:pt x="141" y="177"/>
                    <a:pt x="139" y="178"/>
                  </a:cubicBezTo>
                  <a:cubicBezTo>
                    <a:pt x="137" y="180"/>
                    <a:pt x="135" y="181"/>
                    <a:pt x="130" y="183"/>
                  </a:cubicBezTo>
                  <a:cubicBezTo>
                    <a:pt x="125" y="185"/>
                    <a:pt x="121" y="181"/>
                    <a:pt x="119" y="179"/>
                  </a:cubicBezTo>
                  <a:cubicBezTo>
                    <a:pt x="115" y="177"/>
                    <a:pt x="107" y="179"/>
                    <a:pt x="101" y="178"/>
                  </a:cubicBezTo>
                  <a:cubicBezTo>
                    <a:pt x="97" y="176"/>
                    <a:pt x="91" y="170"/>
                    <a:pt x="89" y="168"/>
                  </a:cubicBezTo>
                  <a:cubicBezTo>
                    <a:pt x="85" y="165"/>
                    <a:pt x="77" y="165"/>
                    <a:pt x="77" y="163"/>
                  </a:cubicBezTo>
                  <a:cubicBezTo>
                    <a:pt x="77" y="160"/>
                    <a:pt x="71" y="147"/>
                    <a:pt x="72" y="145"/>
                  </a:cubicBezTo>
                  <a:cubicBezTo>
                    <a:pt x="73" y="143"/>
                    <a:pt x="81" y="135"/>
                    <a:pt x="81" y="133"/>
                  </a:cubicBezTo>
                  <a:cubicBezTo>
                    <a:pt x="81" y="131"/>
                    <a:pt x="75" y="128"/>
                    <a:pt x="71" y="128"/>
                  </a:cubicBezTo>
                  <a:cubicBezTo>
                    <a:pt x="67" y="128"/>
                    <a:pt x="52" y="129"/>
                    <a:pt x="47" y="128"/>
                  </a:cubicBezTo>
                  <a:cubicBezTo>
                    <a:pt x="45" y="127"/>
                    <a:pt x="40" y="121"/>
                    <a:pt x="36" y="117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2" y="105"/>
                    <a:pt x="56" y="107"/>
                    <a:pt x="59" y="102"/>
                  </a:cubicBezTo>
                  <a:cubicBezTo>
                    <a:pt x="61" y="96"/>
                    <a:pt x="61" y="86"/>
                    <a:pt x="56" y="84"/>
                  </a:cubicBezTo>
                  <a:cubicBezTo>
                    <a:pt x="52" y="82"/>
                    <a:pt x="33" y="83"/>
                    <a:pt x="29" y="83"/>
                  </a:cubicBezTo>
                  <a:cubicBezTo>
                    <a:pt x="25" y="82"/>
                    <a:pt x="27" y="72"/>
                    <a:pt x="24" y="72"/>
                  </a:cubicBezTo>
                  <a:cubicBezTo>
                    <a:pt x="20" y="71"/>
                    <a:pt x="13" y="71"/>
                    <a:pt x="9" y="70"/>
                  </a:cubicBezTo>
                  <a:cubicBezTo>
                    <a:pt x="4" y="69"/>
                    <a:pt x="0" y="61"/>
                    <a:pt x="0" y="58"/>
                  </a:cubicBezTo>
                  <a:cubicBezTo>
                    <a:pt x="0" y="57"/>
                    <a:pt x="1" y="55"/>
                    <a:pt x="2" y="53"/>
                  </a:cubicBezTo>
                  <a:cubicBezTo>
                    <a:pt x="2" y="53"/>
                    <a:pt x="8" y="58"/>
                    <a:pt x="14" y="57"/>
                  </a:cubicBezTo>
                  <a:cubicBezTo>
                    <a:pt x="16" y="56"/>
                    <a:pt x="23" y="47"/>
                    <a:pt x="27" y="47"/>
                  </a:cubicBezTo>
                  <a:cubicBezTo>
                    <a:pt x="31" y="47"/>
                    <a:pt x="54" y="63"/>
                    <a:pt x="58" y="61"/>
                  </a:cubicBezTo>
                  <a:cubicBezTo>
                    <a:pt x="62" y="60"/>
                    <a:pt x="61" y="47"/>
                    <a:pt x="64" y="47"/>
                  </a:cubicBezTo>
                  <a:cubicBezTo>
                    <a:pt x="68" y="47"/>
                    <a:pt x="92" y="32"/>
                    <a:pt x="97" y="31"/>
                  </a:cubicBezTo>
                  <a:cubicBezTo>
                    <a:pt x="102" y="31"/>
                    <a:pt x="110" y="44"/>
                    <a:pt x="115" y="44"/>
                  </a:cubicBezTo>
                  <a:cubicBezTo>
                    <a:pt x="120" y="44"/>
                    <a:pt x="140" y="40"/>
                    <a:pt x="142" y="37"/>
                  </a:cubicBezTo>
                  <a:cubicBezTo>
                    <a:pt x="144" y="35"/>
                    <a:pt x="165" y="21"/>
                    <a:pt x="170" y="19"/>
                  </a:cubicBezTo>
                  <a:cubicBezTo>
                    <a:pt x="173" y="17"/>
                    <a:pt x="174" y="13"/>
                    <a:pt x="175" y="9"/>
                  </a:cubicBezTo>
                  <a:cubicBezTo>
                    <a:pt x="188" y="9"/>
                    <a:pt x="188" y="9"/>
                    <a:pt x="188" y="9"/>
                  </a:cubicBezTo>
                  <a:cubicBezTo>
                    <a:pt x="190" y="9"/>
                    <a:pt x="204" y="14"/>
                    <a:pt x="206" y="11"/>
                  </a:cubicBezTo>
                  <a:cubicBezTo>
                    <a:pt x="208" y="9"/>
                    <a:pt x="218" y="0"/>
                    <a:pt x="222" y="0"/>
                  </a:cubicBezTo>
                  <a:cubicBezTo>
                    <a:pt x="227" y="0"/>
                    <a:pt x="234" y="0"/>
                    <a:pt x="236" y="3"/>
                  </a:cubicBezTo>
                  <a:cubicBezTo>
                    <a:pt x="238" y="5"/>
                    <a:pt x="236" y="16"/>
                    <a:pt x="240" y="18"/>
                  </a:cubicBezTo>
                  <a:cubicBezTo>
                    <a:pt x="243" y="20"/>
                    <a:pt x="245" y="24"/>
                    <a:pt x="242" y="29"/>
                  </a:cubicBezTo>
                  <a:cubicBezTo>
                    <a:pt x="238" y="33"/>
                    <a:pt x="227" y="46"/>
                    <a:pt x="228" y="49"/>
                  </a:cubicBezTo>
                  <a:cubicBezTo>
                    <a:pt x="228" y="53"/>
                    <a:pt x="254" y="57"/>
                    <a:pt x="254" y="57"/>
                  </a:cubicBezTo>
                  <a:lnTo>
                    <a:pt x="265" y="57"/>
                  </a:ln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5" name="Freeform 204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608928" y="5464390"/>
              <a:ext cx="281715" cy="236019"/>
            </a:xfrm>
            <a:custGeom>
              <a:avLst/>
              <a:gdLst>
                <a:gd name="T0" fmla="*/ 86 w 90"/>
                <a:gd name="T1" fmla="*/ 7 h 75"/>
                <a:gd name="T2" fmla="*/ 88 w 90"/>
                <a:gd name="T3" fmla="*/ 19 h 75"/>
                <a:gd name="T4" fmla="*/ 72 w 90"/>
                <a:gd name="T5" fmla="*/ 53 h 75"/>
                <a:gd name="T6" fmla="*/ 38 w 90"/>
                <a:gd name="T7" fmla="*/ 73 h 75"/>
                <a:gd name="T8" fmla="*/ 3 w 90"/>
                <a:gd name="T9" fmla="*/ 61 h 75"/>
                <a:gd name="T10" fmla="*/ 2 w 90"/>
                <a:gd name="T11" fmla="*/ 33 h 75"/>
                <a:gd name="T12" fmla="*/ 20 w 90"/>
                <a:gd name="T13" fmla="*/ 19 h 75"/>
                <a:gd name="T14" fmla="*/ 28 w 90"/>
                <a:gd name="T15" fmla="*/ 6 h 75"/>
                <a:gd name="T16" fmla="*/ 57 w 90"/>
                <a:gd name="T17" fmla="*/ 7 h 75"/>
                <a:gd name="T18" fmla="*/ 75 w 90"/>
                <a:gd name="T19" fmla="*/ 2 h 75"/>
                <a:gd name="T20" fmla="*/ 86 w 90"/>
                <a:gd name="T21" fmla="*/ 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75">
                  <a:moveTo>
                    <a:pt x="86" y="7"/>
                  </a:moveTo>
                  <a:cubicBezTo>
                    <a:pt x="90" y="10"/>
                    <a:pt x="90" y="18"/>
                    <a:pt x="88" y="19"/>
                  </a:cubicBezTo>
                  <a:cubicBezTo>
                    <a:pt x="74" y="27"/>
                    <a:pt x="75" y="50"/>
                    <a:pt x="72" y="53"/>
                  </a:cubicBezTo>
                  <a:cubicBezTo>
                    <a:pt x="68" y="56"/>
                    <a:pt x="55" y="59"/>
                    <a:pt x="38" y="73"/>
                  </a:cubicBezTo>
                  <a:cubicBezTo>
                    <a:pt x="35" y="75"/>
                    <a:pt x="4" y="63"/>
                    <a:pt x="3" y="61"/>
                  </a:cubicBezTo>
                  <a:cubicBezTo>
                    <a:pt x="2" y="59"/>
                    <a:pt x="0" y="38"/>
                    <a:pt x="2" y="33"/>
                  </a:cubicBezTo>
                  <a:cubicBezTo>
                    <a:pt x="4" y="27"/>
                    <a:pt x="15" y="21"/>
                    <a:pt x="20" y="19"/>
                  </a:cubicBezTo>
                  <a:cubicBezTo>
                    <a:pt x="24" y="17"/>
                    <a:pt x="22" y="7"/>
                    <a:pt x="28" y="6"/>
                  </a:cubicBezTo>
                  <a:cubicBezTo>
                    <a:pt x="35" y="5"/>
                    <a:pt x="54" y="7"/>
                    <a:pt x="57" y="7"/>
                  </a:cubicBezTo>
                  <a:cubicBezTo>
                    <a:pt x="60" y="6"/>
                    <a:pt x="72" y="4"/>
                    <a:pt x="75" y="2"/>
                  </a:cubicBezTo>
                  <a:cubicBezTo>
                    <a:pt x="78" y="0"/>
                    <a:pt x="84" y="5"/>
                    <a:pt x="86" y="7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6" name="Freeform 20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345994" y="3139712"/>
              <a:ext cx="527954" cy="931543"/>
            </a:xfrm>
            <a:custGeom>
              <a:avLst/>
              <a:gdLst>
                <a:gd name="T0" fmla="*/ 54 w 169"/>
                <a:gd name="T1" fmla="*/ 88 h 297"/>
                <a:gd name="T2" fmla="*/ 58 w 169"/>
                <a:gd name="T3" fmla="*/ 69 h 297"/>
                <a:gd name="T4" fmla="*/ 65 w 169"/>
                <a:gd name="T5" fmla="*/ 62 h 297"/>
                <a:gd name="T6" fmla="*/ 92 w 169"/>
                <a:gd name="T7" fmla="*/ 70 h 297"/>
                <a:gd name="T8" fmla="*/ 116 w 169"/>
                <a:gd name="T9" fmla="*/ 39 h 297"/>
                <a:gd name="T10" fmla="*/ 131 w 169"/>
                <a:gd name="T11" fmla="*/ 31 h 297"/>
                <a:gd name="T12" fmla="*/ 135 w 169"/>
                <a:gd name="T13" fmla="*/ 12 h 297"/>
                <a:gd name="T14" fmla="*/ 164 w 169"/>
                <a:gd name="T15" fmla="*/ 0 h 297"/>
                <a:gd name="T16" fmla="*/ 169 w 169"/>
                <a:gd name="T17" fmla="*/ 4 h 297"/>
                <a:gd name="T18" fmla="*/ 163 w 169"/>
                <a:gd name="T19" fmla="*/ 31 h 297"/>
                <a:gd name="T20" fmla="*/ 152 w 169"/>
                <a:gd name="T21" fmla="*/ 52 h 297"/>
                <a:gd name="T22" fmla="*/ 158 w 169"/>
                <a:gd name="T23" fmla="*/ 75 h 297"/>
                <a:gd name="T24" fmla="*/ 147 w 169"/>
                <a:gd name="T25" fmla="*/ 101 h 297"/>
                <a:gd name="T26" fmla="*/ 154 w 169"/>
                <a:gd name="T27" fmla="*/ 147 h 297"/>
                <a:gd name="T28" fmla="*/ 145 w 169"/>
                <a:gd name="T29" fmla="*/ 179 h 297"/>
                <a:gd name="T30" fmla="*/ 146 w 169"/>
                <a:gd name="T31" fmla="*/ 188 h 297"/>
                <a:gd name="T32" fmla="*/ 159 w 169"/>
                <a:gd name="T33" fmla="*/ 217 h 297"/>
                <a:gd name="T34" fmla="*/ 168 w 169"/>
                <a:gd name="T35" fmla="*/ 234 h 297"/>
                <a:gd name="T36" fmla="*/ 166 w 169"/>
                <a:gd name="T37" fmla="*/ 239 h 297"/>
                <a:gd name="T38" fmla="*/ 157 w 169"/>
                <a:gd name="T39" fmla="*/ 245 h 297"/>
                <a:gd name="T40" fmla="*/ 137 w 169"/>
                <a:gd name="T41" fmla="*/ 237 h 297"/>
                <a:gd name="T42" fmla="*/ 121 w 169"/>
                <a:gd name="T43" fmla="*/ 237 h 297"/>
                <a:gd name="T44" fmla="*/ 115 w 169"/>
                <a:gd name="T45" fmla="*/ 245 h 297"/>
                <a:gd name="T46" fmla="*/ 126 w 169"/>
                <a:gd name="T47" fmla="*/ 252 h 297"/>
                <a:gd name="T48" fmla="*/ 141 w 169"/>
                <a:gd name="T49" fmla="*/ 260 h 297"/>
                <a:gd name="T50" fmla="*/ 122 w 169"/>
                <a:gd name="T51" fmla="*/ 273 h 297"/>
                <a:gd name="T52" fmla="*/ 122 w 169"/>
                <a:gd name="T53" fmla="*/ 295 h 297"/>
                <a:gd name="T54" fmla="*/ 109 w 169"/>
                <a:gd name="T55" fmla="*/ 296 h 297"/>
                <a:gd name="T56" fmla="*/ 87 w 169"/>
                <a:gd name="T57" fmla="*/ 278 h 297"/>
                <a:gd name="T58" fmla="*/ 86 w 169"/>
                <a:gd name="T59" fmla="*/ 278 h 297"/>
                <a:gd name="T60" fmla="*/ 69 w 169"/>
                <a:gd name="T61" fmla="*/ 280 h 297"/>
                <a:gd name="T62" fmla="*/ 41 w 169"/>
                <a:gd name="T63" fmla="*/ 260 h 297"/>
                <a:gd name="T64" fmla="*/ 15 w 169"/>
                <a:gd name="T65" fmla="*/ 261 h 297"/>
                <a:gd name="T66" fmla="*/ 5 w 169"/>
                <a:gd name="T67" fmla="*/ 252 h 297"/>
                <a:gd name="T68" fmla="*/ 5 w 169"/>
                <a:gd name="T69" fmla="*/ 252 h 297"/>
                <a:gd name="T70" fmla="*/ 2 w 169"/>
                <a:gd name="T71" fmla="*/ 248 h 297"/>
                <a:gd name="T72" fmla="*/ 3 w 169"/>
                <a:gd name="T73" fmla="*/ 228 h 297"/>
                <a:gd name="T74" fmla="*/ 24 w 169"/>
                <a:gd name="T75" fmla="*/ 221 h 297"/>
                <a:gd name="T76" fmla="*/ 30 w 169"/>
                <a:gd name="T77" fmla="*/ 195 h 297"/>
                <a:gd name="T78" fmla="*/ 25 w 169"/>
                <a:gd name="T79" fmla="*/ 179 h 297"/>
                <a:gd name="T80" fmla="*/ 35 w 169"/>
                <a:gd name="T81" fmla="*/ 168 h 297"/>
                <a:gd name="T82" fmla="*/ 48 w 169"/>
                <a:gd name="T83" fmla="*/ 175 h 297"/>
                <a:gd name="T84" fmla="*/ 67 w 169"/>
                <a:gd name="T85" fmla="*/ 176 h 297"/>
                <a:gd name="T86" fmla="*/ 68 w 169"/>
                <a:gd name="T87" fmla="*/ 161 h 297"/>
                <a:gd name="T88" fmla="*/ 92 w 169"/>
                <a:gd name="T89" fmla="*/ 160 h 297"/>
                <a:gd name="T90" fmla="*/ 90 w 169"/>
                <a:gd name="T91" fmla="*/ 139 h 297"/>
                <a:gd name="T92" fmla="*/ 96 w 169"/>
                <a:gd name="T93" fmla="*/ 120 h 297"/>
                <a:gd name="T94" fmla="*/ 54 w 169"/>
                <a:gd name="T95" fmla="*/ 95 h 297"/>
                <a:gd name="T96" fmla="*/ 54 w 169"/>
                <a:gd name="T97" fmla="*/ 88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9" h="297">
                  <a:moveTo>
                    <a:pt x="54" y="88"/>
                  </a:moveTo>
                  <a:cubicBezTo>
                    <a:pt x="55" y="82"/>
                    <a:pt x="55" y="73"/>
                    <a:pt x="58" y="69"/>
                  </a:cubicBezTo>
                  <a:cubicBezTo>
                    <a:pt x="59" y="66"/>
                    <a:pt x="65" y="62"/>
                    <a:pt x="65" y="62"/>
                  </a:cubicBezTo>
                  <a:cubicBezTo>
                    <a:pt x="68" y="64"/>
                    <a:pt x="87" y="70"/>
                    <a:pt x="92" y="70"/>
                  </a:cubicBezTo>
                  <a:cubicBezTo>
                    <a:pt x="96" y="70"/>
                    <a:pt x="111" y="42"/>
                    <a:pt x="116" y="39"/>
                  </a:cubicBezTo>
                  <a:cubicBezTo>
                    <a:pt x="121" y="36"/>
                    <a:pt x="130" y="35"/>
                    <a:pt x="131" y="31"/>
                  </a:cubicBezTo>
                  <a:cubicBezTo>
                    <a:pt x="132" y="27"/>
                    <a:pt x="130" y="15"/>
                    <a:pt x="135" y="12"/>
                  </a:cubicBezTo>
                  <a:cubicBezTo>
                    <a:pt x="141" y="8"/>
                    <a:pt x="161" y="0"/>
                    <a:pt x="164" y="0"/>
                  </a:cubicBezTo>
                  <a:cubicBezTo>
                    <a:pt x="167" y="0"/>
                    <a:pt x="169" y="1"/>
                    <a:pt x="169" y="4"/>
                  </a:cubicBezTo>
                  <a:cubicBezTo>
                    <a:pt x="169" y="8"/>
                    <a:pt x="166" y="24"/>
                    <a:pt x="163" y="31"/>
                  </a:cubicBezTo>
                  <a:cubicBezTo>
                    <a:pt x="161" y="38"/>
                    <a:pt x="151" y="44"/>
                    <a:pt x="152" y="52"/>
                  </a:cubicBezTo>
                  <a:cubicBezTo>
                    <a:pt x="152" y="61"/>
                    <a:pt x="162" y="69"/>
                    <a:pt x="158" y="75"/>
                  </a:cubicBezTo>
                  <a:cubicBezTo>
                    <a:pt x="154" y="82"/>
                    <a:pt x="146" y="94"/>
                    <a:pt x="147" y="101"/>
                  </a:cubicBezTo>
                  <a:cubicBezTo>
                    <a:pt x="148" y="108"/>
                    <a:pt x="157" y="141"/>
                    <a:pt x="154" y="147"/>
                  </a:cubicBezTo>
                  <a:cubicBezTo>
                    <a:pt x="152" y="154"/>
                    <a:pt x="145" y="166"/>
                    <a:pt x="145" y="179"/>
                  </a:cubicBezTo>
                  <a:cubicBezTo>
                    <a:pt x="145" y="182"/>
                    <a:pt x="145" y="185"/>
                    <a:pt x="146" y="188"/>
                  </a:cubicBezTo>
                  <a:cubicBezTo>
                    <a:pt x="149" y="200"/>
                    <a:pt x="157" y="214"/>
                    <a:pt x="159" y="217"/>
                  </a:cubicBezTo>
                  <a:cubicBezTo>
                    <a:pt x="161" y="220"/>
                    <a:pt x="169" y="227"/>
                    <a:pt x="168" y="234"/>
                  </a:cubicBezTo>
                  <a:cubicBezTo>
                    <a:pt x="168" y="236"/>
                    <a:pt x="167" y="238"/>
                    <a:pt x="166" y="239"/>
                  </a:cubicBezTo>
                  <a:cubicBezTo>
                    <a:pt x="164" y="243"/>
                    <a:pt x="160" y="246"/>
                    <a:pt x="157" y="245"/>
                  </a:cubicBezTo>
                  <a:cubicBezTo>
                    <a:pt x="152" y="243"/>
                    <a:pt x="143" y="238"/>
                    <a:pt x="137" y="237"/>
                  </a:cubicBezTo>
                  <a:cubicBezTo>
                    <a:pt x="131" y="236"/>
                    <a:pt x="124" y="238"/>
                    <a:pt x="121" y="237"/>
                  </a:cubicBezTo>
                  <a:cubicBezTo>
                    <a:pt x="119" y="236"/>
                    <a:pt x="115" y="243"/>
                    <a:pt x="115" y="245"/>
                  </a:cubicBezTo>
                  <a:cubicBezTo>
                    <a:pt x="114" y="247"/>
                    <a:pt x="122" y="251"/>
                    <a:pt x="126" y="252"/>
                  </a:cubicBezTo>
                  <a:cubicBezTo>
                    <a:pt x="129" y="253"/>
                    <a:pt x="141" y="257"/>
                    <a:pt x="141" y="260"/>
                  </a:cubicBezTo>
                  <a:cubicBezTo>
                    <a:pt x="140" y="269"/>
                    <a:pt x="124" y="270"/>
                    <a:pt x="122" y="273"/>
                  </a:cubicBezTo>
                  <a:cubicBezTo>
                    <a:pt x="121" y="276"/>
                    <a:pt x="121" y="291"/>
                    <a:pt x="122" y="295"/>
                  </a:cubicBezTo>
                  <a:cubicBezTo>
                    <a:pt x="122" y="295"/>
                    <a:pt x="111" y="297"/>
                    <a:pt x="109" y="296"/>
                  </a:cubicBezTo>
                  <a:cubicBezTo>
                    <a:pt x="106" y="295"/>
                    <a:pt x="89" y="280"/>
                    <a:pt x="87" y="278"/>
                  </a:cubicBezTo>
                  <a:cubicBezTo>
                    <a:pt x="87" y="278"/>
                    <a:pt x="86" y="278"/>
                    <a:pt x="86" y="278"/>
                  </a:cubicBezTo>
                  <a:cubicBezTo>
                    <a:pt x="82" y="277"/>
                    <a:pt x="72" y="280"/>
                    <a:pt x="69" y="280"/>
                  </a:cubicBezTo>
                  <a:cubicBezTo>
                    <a:pt x="67" y="280"/>
                    <a:pt x="45" y="261"/>
                    <a:pt x="41" y="260"/>
                  </a:cubicBezTo>
                  <a:cubicBezTo>
                    <a:pt x="37" y="258"/>
                    <a:pt x="18" y="261"/>
                    <a:pt x="15" y="261"/>
                  </a:cubicBezTo>
                  <a:cubicBezTo>
                    <a:pt x="12" y="261"/>
                    <a:pt x="8" y="256"/>
                    <a:pt x="5" y="252"/>
                  </a:cubicBezTo>
                  <a:cubicBezTo>
                    <a:pt x="5" y="252"/>
                    <a:pt x="5" y="252"/>
                    <a:pt x="5" y="252"/>
                  </a:cubicBezTo>
                  <a:cubicBezTo>
                    <a:pt x="4" y="250"/>
                    <a:pt x="3" y="249"/>
                    <a:pt x="2" y="248"/>
                  </a:cubicBezTo>
                  <a:cubicBezTo>
                    <a:pt x="0" y="243"/>
                    <a:pt x="0" y="233"/>
                    <a:pt x="3" y="228"/>
                  </a:cubicBezTo>
                  <a:cubicBezTo>
                    <a:pt x="6" y="224"/>
                    <a:pt x="21" y="222"/>
                    <a:pt x="24" y="221"/>
                  </a:cubicBezTo>
                  <a:cubicBezTo>
                    <a:pt x="28" y="221"/>
                    <a:pt x="29" y="199"/>
                    <a:pt x="30" y="195"/>
                  </a:cubicBezTo>
                  <a:cubicBezTo>
                    <a:pt x="32" y="191"/>
                    <a:pt x="24" y="184"/>
                    <a:pt x="25" y="179"/>
                  </a:cubicBezTo>
                  <a:cubicBezTo>
                    <a:pt x="26" y="175"/>
                    <a:pt x="32" y="168"/>
                    <a:pt x="35" y="168"/>
                  </a:cubicBezTo>
                  <a:cubicBezTo>
                    <a:pt x="39" y="168"/>
                    <a:pt x="46" y="173"/>
                    <a:pt x="48" y="175"/>
                  </a:cubicBezTo>
                  <a:cubicBezTo>
                    <a:pt x="51" y="177"/>
                    <a:pt x="61" y="177"/>
                    <a:pt x="67" y="176"/>
                  </a:cubicBezTo>
                  <a:cubicBezTo>
                    <a:pt x="72" y="175"/>
                    <a:pt x="65" y="162"/>
                    <a:pt x="68" y="161"/>
                  </a:cubicBezTo>
                  <a:cubicBezTo>
                    <a:pt x="71" y="160"/>
                    <a:pt x="89" y="164"/>
                    <a:pt x="92" y="160"/>
                  </a:cubicBezTo>
                  <a:cubicBezTo>
                    <a:pt x="95" y="156"/>
                    <a:pt x="90" y="143"/>
                    <a:pt x="90" y="139"/>
                  </a:cubicBezTo>
                  <a:cubicBezTo>
                    <a:pt x="90" y="135"/>
                    <a:pt x="96" y="125"/>
                    <a:pt x="96" y="120"/>
                  </a:cubicBezTo>
                  <a:cubicBezTo>
                    <a:pt x="96" y="115"/>
                    <a:pt x="54" y="97"/>
                    <a:pt x="54" y="95"/>
                  </a:cubicBezTo>
                  <a:cubicBezTo>
                    <a:pt x="54" y="94"/>
                    <a:pt x="54" y="91"/>
                    <a:pt x="54" y="88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7" name="Freeform 20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268783" y="4012772"/>
              <a:ext cx="523781" cy="469948"/>
            </a:xfrm>
            <a:custGeom>
              <a:avLst/>
              <a:gdLst>
                <a:gd name="T0" fmla="*/ 164 w 167"/>
                <a:gd name="T1" fmla="*/ 33 h 150"/>
                <a:gd name="T2" fmla="*/ 162 w 167"/>
                <a:gd name="T3" fmla="*/ 54 h 150"/>
                <a:gd name="T4" fmla="*/ 137 w 167"/>
                <a:gd name="T5" fmla="*/ 63 h 150"/>
                <a:gd name="T6" fmla="*/ 108 w 167"/>
                <a:gd name="T7" fmla="*/ 67 h 150"/>
                <a:gd name="T8" fmla="*/ 113 w 167"/>
                <a:gd name="T9" fmla="*/ 92 h 150"/>
                <a:gd name="T10" fmla="*/ 135 w 167"/>
                <a:gd name="T11" fmla="*/ 120 h 150"/>
                <a:gd name="T12" fmla="*/ 134 w 167"/>
                <a:gd name="T13" fmla="*/ 129 h 150"/>
                <a:gd name="T14" fmla="*/ 135 w 167"/>
                <a:gd name="T15" fmla="*/ 150 h 150"/>
                <a:gd name="T16" fmla="*/ 120 w 167"/>
                <a:gd name="T17" fmla="*/ 150 h 150"/>
                <a:gd name="T18" fmla="*/ 106 w 167"/>
                <a:gd name="T19" fmla="*/ 149 h 150"/>
                <a:gd name="T20" fmla="*/ 99 w 167"/>
                <a:gd name="T21" fmla="*/ 129 h 150"/>
                <a:gd name="T22" fmla="*/ 78 w 167"/>
                <a:gd name="T23" fmla="*/ 117 h 150"/>
                <a:gd name="T24" fmla="*/ 53 w 167"/>
                <a:gd name="T25" fmla="*/ 140 h 150"/>
                <a:gd name="T26" fmla="*/ 33 w 167"/>
                <a:gd name="T27" fmla="*/ 129 h 150"/>
                <a:gd name="T28" fmla="*/ 18 w 167"/>
                <a:gd name="T29" fmla="*/ 123 h 150"/>
                <a:gd name="T30" fmla="*/ 16 w 167"/>
                <a:gd name="T31" fmla="*/ 113 h 150"/>
                <a:gd name="T32" fmla="*/ 9 w 167"/>
                <a:gd name="T33" fmla="*/ 111 h 150"/>
                <a:gd name="T34" fmla="*/ 2 w 167"/>
                <a:gd name="T35" fmla="*/ 102 h 150"/>
                <a:gd name="T36" fmla="*/ 16 w 167"/>
                <a:gd name="T37" fmla="*/ 91 h 150"/>
                <a:gd name="T38" fmla="*/ 17 w 167"/>
                <a:gd name="T39" fmla="*/ 84 h 150"/>
                <a:gd name="T40" fmla="*/ 13 w 167"/>
                <a:gd name="T41" fmla="*/ 81 h 150"/>
                <a:gd name="T42" fmla="*/ 21 w 167"/>
                <a:gd name="T43" fmla="*/ 69 h 150"/>
                <a:gd name="T44" fmla="*/ 29 w 167"/>
                <a:gd name="T45" fmla="*/ 70 h 150"/>
                <a:gd name="T46" fmla="*/ 34 w 167"/>
                <a:gd name="T47" fmla="*/ 78 h 150"/>
                <a:gd name="T48" fmla="*/ 43 w 167"/>
                <a:gd name="T49" fmla="*/ 73 h 150"/>
                <a:gd name="T50" fmla="*/ 48 w 167"/>
                <a:gd name="T51" fmla="*/ 77 h 150"/>
                <a:gd name="T52" fmla="*/ 52 w 167"/>
                <a:gd name="T53" fmla="*/ 85 h 150"/>
                <a:gd name="T54" fmla="*/ 62 w 167"/>
                <a:gd name="T55" fmla="*/ 83 h 150"/>
                <a:gd name="T56" fmla="*/ 75 w 167"/>
                <a:gd name="T57" fmla="*/ 65 h 150"/>
                <a:gd name="T58" fmla="*/ 76 w 167"/>
                <a:gd name="T59" fmla="*/ 55 h 150"/>
                <a:gd name="T60" fmla="*/ 89 w 167"/>
                <a:gd name="T61" fmla="*/ 55 h 150"/>
                <a:gd name="T62" fmla="*/ 94 w 167"/>
                <a:gd name="T63" fmla="*/ 43 h 150"/>
                <a:gd name="T64" fmla="*/ 107 w 167"/>
                <a:gd name="T65" fmla="*/ 25 h 150"/>
                <a:gd name="T66" fmla="*/ 109 w 167"/>
                <a:gd name="T67" fmla="*/ 17 h 150"/>
                <a:gd name="T68" fmla="*/ 104 w 167"/>
                <a:gd name="T69" fmla="*/ 11 h 150"/>
                <a:gd name="T70" fmla="*/ 110 w 167"/>
                <a:gd name="T71" fmla="*/ 0 h 150"/>
                <a:gd name="T72" fmla="*/ 111 w 167"/>
                <a:gd name="T73" fmla="*/ 0 h 150"/>
                <a:gd name="T74" fmla="*/ 133 w 167"/>
                <a:gd name="T75" fmla="*/ 18 h 150"/>
                <a:gd name="T76" fmla="*/ 146 w 167"/>
                <a:gd name="T77" fmla="*/ 17 h 150"/>
                <a:gd name="T78" fmla="*/ 164 w 167"/>
                <a:gd name="T79" fmla="*/ 3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" h="150">
                  <a:moveTo>
                    <a:pt x="164" y="33"/>
                  </a:moveTo>
                  <a:cubicBezTo>
                    <a:pt x="164" y="37"/>
                    <a:pt x="167" y="50"/>
                    <a:pt x="162" y="54"/>
                  </a:cubicBezTo>
                  <a:cubicBezTo>
                    <a:pt x="158" y="58"/>
                    <a:pt x="142" y="63"/>
                    <a:pt x="137" y="63"/>
                  </a:cubicBezTo>
                  <a:cubicBezTo>
                    <a:pt x="132" y="63"/>
                    <a:pt x="108" y="62"/>
                    <a:pt x="108" y="67"/>
                  </a:cubicBezTo>
                  <a:cubicBezTo>
                    <a:pt x="108" y="73"/>
                    <a:pt x="109" y="87"/>
                    <a:pt x="113" y="92"/>
                  </a:cubicBezTo>
                  <a:cubicBezTo>
                    <a:pt x="116" y="97"/>
                    <a:pt x="135" y="120"/>
                    <a:pt x="135" y="120"/>
                  </a:cubicBezTo>
                  <a:cubicBezTo>
                    <a:pt x="135" y="123"/>
                    <a:pt x="134" y="126"/>
                    <a:pt x="134" y="129"/>
                  </a:cubicBezTo>
                  <a:cubicBezTo>
                    <a:pt x="134" y="136"/>
                    <a:pt x="134" y="144"/>
                    <a:pt x="135" y="150"/>
                  </a:cubicBezTo>
                  <a:cubicBezTo>
                    <a:pt x="120" y="150"/>
                    <a:pt x="120" y="150"/>
                    <a:pt x="120" y="150"/>
                  </a:cubicBezTo>
                  <a:cubicBezTo>
                    <a:pt x="120" y="150"/>
                    <a:pt x="111" y="149"/>
                    <a:pt x="106" y="149"/>
                  </a:cubicBezTo>
                  <a:cubicBezTo>
                    <a:pt x="101" y="149"/>
                    <a:pt x="101" y="138"/>
                    <a:pt x="99" y="129"/>
                  </a:cubicBezTo>
                  <a:cubicBezTo>
                    <a:pt x="97" y="119"/>
                    <a:pt x="85" y="117"/>
                    <a:pt x="78" y="117"/>
                  </a:cubicBezTo>
                  <a:cubicBezTo>
                    <a:pt x="71" y="117"/>
                    <a:pt x="57" y="140"/>
                    <a:pt x="53" y="140"/>
                  </a:cubicBezTo>
                  <a:cubicBezTo>
                    <a:pt x="48" y="140"/>
                    <a:pt x="37" y="125"/>
                    <a:pt x="33" y="129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6" y="123"/>
                    <a:pt x="16" y="115"/>
                    <a:pt x="16" y="113"/>
                  </a:cubicBezTo>
                  <a:cubicBezTo>
                    <a:pt x="16" y="111"/>
                    <a:pt x="13" y="111"/>
                    <a:pt x="9" y="111"/>
                  </a:cubicBezTo>
                  <a:cubicBezTo>
                    <a:pt x="5" y="110"/>
                    <a:pt x="4" y="105"/>
                    <a:pt x="2" y="102"/>
                  </a:cubicBezTo>
                  <a:cubicBezTo>
                    <a:pt x="0" y="99"/>
                    <a:pt x="14" y="92"/>
                    <a:pt x="16" y="91"/>
                  </a:cubicBezTo>
                  <a:cubicBezTo>
                    <a:pt x="18" y="89"/>
                    <a:pt x="17" y="84"/>
                    <a:pt x="17" y="84"/>
                  </a:cubicBezTo>
                  <a:cubicBezTo>
                    <a:pt x="17" y="84"/>
                    <a:pt x="12" y="83"/>
                    <a:pt x="13" y="81"/>
                  </a:cubicBezTo>
                  <a:cubicBezTo>
                    <a:pt x="13" y="78"/>
                    <a:pt x="17" y="70"/>
                    <a:pt x="21" y="69"/>
                  </a:cubicBezTo>
                  <a:cubicBezTo>
                    <a:pt x="25" y="69"/>
                    <a:pt x="28" y="68"/>
                    <a:pt x="29" y="70"/>
                  </a:cubicBezTo>
                  <a:cubicBezTo>
                    <a:pt x="31" y="72"/>
                    <a:pt x="32" y="78"/>
                    <a:pt x="34" y="78"/>
                  </a:cubicBezTo>
                  <a:cubicBezTo>
                    <a:pt x="36" y="78"/>
                    <a:pt x="39" y="73"/>
                    <a:pt x="43" y="73"/>
                  </a:cubicBezTo>
                  <a:cubicBezTo>
                    <a:pt x="46" y="73"/>
                    <a:pt x="48" y="75"/>
                    <a:pt x="48" y="77"/>
                  </a:cubicBezTo>
                  <a:cubicBezTo>
                    <a:pt x="48" y="80"/>
                    <a:pt x="49" y="85"/>
                    <a:pt x="52" y="85"/>
                  </a:cubicBezTo>
                  <a:cubicBezTo>
                    <a:pt x="55" y="85"/>
                    <a:pt x="60" y="83"/>
                    <a:pt x="62" y="83"/>
                  </a:cubicBezTo>
                  <a:cubicBezTo>
                    <a:pt x="64" y="83"/>
                    <a:pt x="75" y="67"/>
                    <a:pt x="75" y="65"/>
                  </a:cubicBezTo>
                  <a:cubicBezTo>
                    <a:pt x="75" y="63"/>
                    <a:pt x="74" y="55"/>
                    <a:pt x="76" y="55"/>
                  </a:cubicBezTo>
                  <a:cubicBezTo>
                    <a:pt x="78" y="54"/>
                    <a:pt x="87" y="55"/>
                    <a:pt x="89" y="55"/>
                  </a:cubicBezTo>
                  <a:cubicBezTo>
                    <a:pt x="91" y="56"/>
                    <a:pt x="92" y="48"/>
                    <a:pt x="94" y="43"/>
                  </a:cubicBezTo>
                  <a:cubicBezTo>
                    <a:pt x="96" y="37"/>
                    <a:pt x="104" y="28"/>
                    <a:pt x="107" y="25"/>
                  </a:cubicBezTo>
                  <a:cubicBezTo>
                    <a:pt x="111" y="21"/>
                    <a:pt x="111" y="19"/>
                    <a:pt x="109" y="17"/>
                  </a:cubicBezTo>
                  <a:cubicBezTo>
                    <a:pt x="107" y="16"/>
                    <a:pt x="102" y="13"/>
                    <a:pt x="104" y="11"/>
                  </a:cubicBezTo>
                  <a:cubicBezTo>
                    <a:pt x="105" y="10"/>
                    <a:pt x="110" y="0"/>
                    <a:pt x="110" y="0"/>
                  </a:cubicBezTo>
                  <a:cubicBezTo>
                    <a:pt x="110" y="0"/>
                    <a:pt x="111" y="0"/>
                    <a:pt x="111" y="0"/>
                  </a:cubicBezTo>
                  <a:cubicBezTo>
                    <a:pt x="113" y="2"/>
                    <a:pt x="130" y="17"/>
                    <a:pt x="133" y="18"/>
                  </a:cubicBezTo>
                  <a:cubicBezTo>
                    <a:pt x="135" y="19"/>
                    <a:pt x="146" y="17"/>
                    <a:pt x="146" y="17"/>
                  </a:cubicBezTo>
                  <a:cubicBezTo>
                    <a:pt x="148" y="20"/>
                    <a:pt x="164" y="28"/>
                    <a:pt x="164" y="33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8" name="Freeform 207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091407" y="4380376"/>
              <a:ext cx="623945" cy="540963"/>
            </a:xfrm>
            <a:custGeom>
              <a:avLst/>
              <a:gdLst>
                <a:gd name="T0" fmla="*/ 197 w 199"/>
                <a:gd name="T1" fmla="*/ 114 h 172"/>
                <a:gd name="T2" fmla="*/ 197 w 199"/>
                <a:gd name="T3" fmla="*/ 118 h 172"/>
                <a:gd name="T4" fmla="*/ 192 w 199"/>
                <a:gd name="T5" fmla="*/ 128 h 172"/>
                <a:gd name="T6" fmla="*/ 164 w 199"/>
                <a:gd name="T7" fmla="*/ 146 h 172"/>
                <a:gd name="T8" fmla="*/ 137 w 199"/>
                <a:gd name="T9" fmla="*/ 153 h 172"/>
                <a:gd name="T10" fmla="*/ 119 w 199"/>
                <a:gd name="T11" fmla="*/ 140 h 172"/>
                <a:gd name="T12" fmla="*/ 86 w 199"/>
                <a:gd name="T13" fmla="*/ 156 h 172"/>
                <a:gd name="T14" fmla="*/ 80 w 199"/>
                <a:gd name="T15" fmla="*/ 170 h 172"/>
                <a:gd name="T16" fmla="*/ 49 w 199"/>
                <a:gd name="T17" fmla="*/ 156 h 172"/>
                <a:gd name="T18" fmla="*/ 36 w 199"/>
                <a:gd name="T19" fmla="*/ 166 h 172"/>
                <a:gd name="T20" fmla="*/ 24 w 199"/>
                <a:gd name="T21" fmla="*/ 162 h 172"/>
                <a:gd name="T22" fmla="*/ 31 w 199"/>
                <a:gd name="T23" fmla="*/ 145 h 172"/>
                <a:gd name="T24" fmla="*/ 20 w 199"/>
                <a:gd name="T25" fmla="*/ 131 h 172"/>
                <a:gd name="T26" fmla="*/ 34 w 199"/>
                <a:gd name="T27" fmla="*/ 104 h 172"/>
                <a:gd name="T28" fmla="*/ 26 w 199"/>
                <a:gd name="T29" fmla="*/ 92 h 172"/>
                <a:gd name="T30" fmla="*/ 14 w 199"/>
                <a:gd name="T31" fmla="*/ 96 h 172"/>
                <a:gd name="T32" fmla="*/ 3 w 199"/>
                <a:gd name="T33" fmla="*/ 93 h 172"/>
                <a:gd name="T34" fmla="*/ 2 w 199"/>
                <a:gd name="T35" fmla="*/ 76 h 172"/>
                <a:gd name="T36" fmla="*/ 14 w 199"/>
                <a:gd name="T37" fmla="*/ 65 h 172"/>
                <a:gd name="T38" fmla="*/ 31 w 199"/>
                <a:gd name="T39" fmla="*/ 68 h 172"/>
                <a:gd name="T40" fmla="*/ 54 w 199"/>
                <a:gd name="T41" fmla="*/ 65 h 172"/>
                <a:gd name="T42" fmla="*/ 58 w 199"/>
                <a:gd name="T43" fmla="*/ 51 h 172"/>
                <a:gd name="T44" fmla="*/ 70 w 199"/>
                <a:gd name="T45" fmla="*/ 51 h 172"/>
                <a:gd name="T46" fmla="*/ 92 w 199"/>
                <a:gd name="T47" fmla="*/ 50 h 172"/>
                <a:gd name="T48" fmla="*/ 75 w 199"/>
                <a:gd name="T49" fmla="*/ 22 h 172"/>
                <a:gd name="T50" fmla="*/ 90 w 199"/>
                <a:gd name="T51" fmla="*/ 12 h 172"/>
                <a:gd name="T52" fmla="*/ 110 w 199"/>
                <a:gd name="T53" fmla="*/ 23 h 172"/>
                <a:gd name="T54" fmla="*/ 135 w 199"/>
                <a:gd name="T55" fmla="*/ 0 h 172"/>
                <a:gd name="T56" fmla="*/ 156 w 199"/>
                <a:gd name="T57" fmla="*/ 12 h 172"/>
                <a:gd name="T58" fmla="*/ 163 w 199"/>
                <a:gd name="T59" fmla="*/ 32 h 172"/>
                <a:gd name="T60" fmla="*/ 177 w 199"/>
                <a:gd name="T61" fmla="*/ 33 h 172"/>
                <a:gd name="T62" fmla="*/ 192 w 199"/>
                <a:gd name="T63" fmla="*/ 33 h 172"/>
                <a:gd name="T64" fmla="*/ 194 w 199"/>
                <a:gd name="T65" fmla="*/ 43 h 172"/>
                <a:gd name="T66" fmla="*/ 194 w 199"/>
                <a:gd name="T67" fmla="*/ 62 h 172"/>
                <a:gd name="T68" fmla="*/ 176 w 199"/>
                <a:gd name="T69" fmla="*/ 84 h 172"/>
                <a:gd name="T70" fmla="*/ 199 w 199"/>
                <a:gd name="T71" fmla="*/ 86 h 172"/>
                <a:gd name="T72" fmla="*/ 195 w 199"/>
                <a:gd name="T73" fmla="*/ 99 h 172"/>
                <a:gd name="T74" fmla="*/ 197 w 199"/>
                <a:gd name="T75" fmla="*/ 11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9" h="172">
                  <a:moveTo>
                    <a:pt x="197" y="114"/>
                  </a:moveTo>
                  <a:cubicBezTo>
                    <a:pt x="197" y="115"/>
                    <a:pt x="197" y="117"/>
                    <a:pt x="197" y="118"/>
                  </a:cubicBezTo>
                  <a:cubicBezTo>
                    <a:pt x="196" y="122"/>
                    <a:pt x="195" y="126"/>
                    <a:pt x="192" y="128"/>
                  </a:cubicBezTo>
                  <a:cubicBezTo>
                    <a:pt x="187" y="130"/>
                    <a:pt x="166" y="144"/>
                    <a:pt x="164" y="146"/>
                  </a:cubicBezTo>
                  <a:cubicBezTo>
                    <a:pt x="162" y="149"/>
                    <a:pt x="142" y="153"/>
                    <a:pt x="137" y="153"/>
                  </a:cubicBezTo>
                  <a:cubicBezTo>
                    <a:pt x="132" y="153"/>
                    <a:pt x="124" y="140"/>
                    <a:pt x="119" y="140"/>
                  </a:cubicBezTo>
                  <a:cubicBezTo>
                    <a:pt x="114" y="141"/>
                    <a:pt x="90" y="156"/>
                    <a:pt x="86" y="156"/>
                  </a:cubicBezTo>
                  <a:cubicBezTo>
                    <a:pt x="83" y="156"/>
                    <a:pt x="84" y="169"/>
                    <a:pt x="80" y="170"/>
                  </a:cubicBezTo>
                  <a:cubicBezTo>
                    <a:pt x="76" y="172"/>
                    <a:pt x="53" y="156"/>
                    <a:pt x="49" y="156"/>
                  </a:cubicBezTo>
                  <a:cubicBezTo>
                    <a:pt x="45" y="156"/>
                    <a:pt x="38" y="165"/>
                    <a:pt x="36" y="166"/>
                  </a:cubicBezTo>
                  <a:cubicBezTo>
                    <a:pt x="30" y="167"/>
                    <a:pt x="24" y="162"/>
                    <a:pt x="24" y="162"/>
                  </a:cubicBezTo>
                  <a:cubicBezTo>
                    <a:pt x="27" y="156"/>
                    <a:pt x="31" y="147"/>
                    <a:pt x="31" y="145"/>
                  </a:cubicBezTo>
                  <a:cubicBezTo>
                    <a:pt x="31" y="142"/>
                    <a:pt x="22" y="135"/>
                    <a:pt x="20" y="131"/>
                  </a:cubicBezTo>
                  <a:cubicBezTo>
                    <a:pt x="19" y="127"/>
                    <a:pt x="34" y="107"/>
                    <a:pt x="34" y="104"/>
                  </a:cubicBezTo>
                  <a:cubicBezTo>
                    <a:pt x="34" y="100"/>
                    <a:pt x="30" y="94"/>
                    <a:pt x="26" y="92"/>
                  </a:cubicBezTo>
                  <a:cubicBezTo>
                    <a:pt x="21" y="89"/>
                    <a:pt x="18" y="96"/>
                    <a:pt x="14" y="96"/>
                  </a:cubicBezTo>
                  <a:cubicBezTo>
                    <a:pt x="10" y="96"/>
                    <a:pt x="5" y="98"/>
                    <a:pt x="3" y="93"/>
                  </a:cubicBezTo>
                  <a:cubicBezTo>
                    <a:pt x="1" y="88"/>
                    <a:pt x="0" y="78"/>
                    <a:pt x="2" y="76"/>
                  </a:cubicBezTo>
                  <a:cubicBezTo>
                    <a:pt x="4" y="73"/>
                    <a:pt x="10" y="65"/>
                    <a:pt x="14" y="65"/>
                  </a:cubicBezTo>
                  <a:cubicBezTo>
                    <a:pt x="18" y="65"/>
                    <a:pt x="26" y="68"/>
                    <a:pt x="31" y="68"/>
                  </a:cubicBezTo>
                  <a:cubicBezTo>
                    <a:pt x="35" y="69"/>
                    <a:pt x="50" y="68"/>
                    <a:pt x="54" y="65"/>
                  </a:cubicBezTo>
                  <a:cubicBezTo>
                    <a:pt x="57" y="62"/>
                    <a:pt x="58" y="56"/>
                    <a:pt x="58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5" y="51"/>
                    <a:pt x="90" y="54"/>
                    <a:pt x="92" y="50"/>
                  </a:cubicBezTo>
                  <a:cubicBezTo>
                    <a:pt x="95" y="46"/>
                    <a:pt x="71" y="26"/>
                    <a:pt x="75" y="22"/>
                  </a:cubicBezTo>
                  <a:cubicBezTo>
                    <a:pt x="79" y="18"/>
                    <a:pt x="86" y="15"/>
                    <a:pt x="90" y="12"/>
                  </a:cubicBezTo>
                  <a:cubicBezTo>
                    <a:pt x="94" y="8"/>
                    <a:pt x="105" y="23"/>
                    <a:pt x="110" y="23"/>
                  </a:cubicBezTo>
                  <a:cubicBezTo>
                    <a:pt x="114" y="23"/>
                    <a:pt x="128" y="0"/>
                    <a:pt x="135" y="0"/>
                  </a:cubicBezTo>
                  <a:cubicBezTo>
                    <a:pt x="142" y="0"/>
                    <a:pt x="154" y="2"/>
                    <a:pt x="156" y="12"/>
                  </a:cubicBezTo>
                  <a:cubicBezTo>
                    <a:pt x="158" y="21"/>
                    <a:pt x="158" y="32"/>
                    <a:pt x="163" y="32"/>
                  </a:cubicBezTo>
                  <a:cubicBezTo>
                    <a:pt x="168" y="32"/>
                    <a:pt x="177" y="33"/>
                    <a:pt x="177" y="33"/>
                  </a:cubicBezTo>
                  <a:cubicBezTo>
                    <a:pt x="192" y="33"/>
                    <a:pt x="192" y="33"/>
                    <a:pt x="192" y="33"/>
                  </a:cubicBezTo>
                  <a:cubicBezTo>
                    <a:pt x="192" y="37"/>
                    <a:pt x="193" y="40"/>
                    <a:pt x="194" y="43"/>
                  </a:cubicBezTo>
                  <a:cubicBezTo>
                    <a:pt x="196" y="50"/>
                    <a:pt x="196" y="58"/>
                    <a:pt x="194" y="62"/>
                  </a:cubicBezTo>
                  <a:cubicBezTo>
                    <a:pt x="193" y="65"/>
                    <a:pt x="175" y="81"/>
                    <a:pt x="176" y="84"/>
                  </a:cubicBezTo>
                  <a:cubicBezTo>
                    <a:pt x="178" y="86"/>
                    <a:pt x="199" y="84"/>
                    <a:pt x="199" y="86"/>
                  </a:cubicBezTo>
                  <a:cubicBezTo>
                    <a:pt x="199" y="89"/>
                    <a:pt x="196" y="94"/>
                    <a:pt x="195" y="99"/>
                  </a:cubicBezTo>
                  <a:cubicBezTo>
                    <a:pt x="194" y="104"/>
                    <a:pt x="196" y="112"/>
                    <a:pt x="197" y="114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39" name="Freeform 208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2260872" y="2657231"/>
              <a:ext cx="1385618" cy="1305413"/>
            </a:xfrm>
            <a:custGeom>
              <a:avLst/>
              <a:gdLst>
                <a:gd name="T0" fmla="*/ 435 w 441"/>
                <a:gd name="T1" fmla="*/ 292 h 415"/>
                <a:gd name="T2" fmla="*/ 413 w 441"/>
                <a:gd name="T3" fmla="*/ 314 h 415"/>
                <a:gd name="T4" fmla="*/ 393 w 441"/>
                <a:gd name="T5" fmla="*/ 328 h 415"/>
                <a:gd name="T6" fmla="*/ 370 w 441"/>
                <a:gd name="T7" fmla="*/ 332 h 415"/>
                <a:gd name="T8" fmla="*/ 369 w 441"/>
                <a:gd name="T9" fmla="*/ 374 h 415"/>
                <a:gd name="T10" fmla="*/ 347 w 441"/>
                <a:gd name="T11" fmla="*/ 401 h 415"/>
                <a:gd name="T12" fmla="*/ 332 w 441"/>
                <a:gd name="T13" fmla="*/ 410 h 415"/>
                <a:gd name="T14" fmla="*/ 296 w 441"/>
                <a:gd name="T15" fmla="*/ 374 h 415"/>
                <a:gd name="T16" fmla="*/ 265 w 441"/>
                <a:gd name="T17" fmla="*/ 349 h 415"/>
                <a:gd name="T18" fmla="*/ 245 w 441"/>
                <a:gd name="T19" fmla="*/ 376 h 415"/>
                <a:gd name="T20" fmla="*/ 221 w 441"/>
                <a:gd name="T21" fmla="*/ 372 h 415"/>
                <a:gd name="T22" fmla="*/ 202 w 441"/>
                <a:gd name="T23" fmla="*/ 353 h 415"/>
                <a:gd name="T24" fmla="*/ 191 w 441"/>
                <a:gd name="T25" fmla="*/ 334 h 415"/>
                <a:gd name="T26" fmla="*/ 217 w 441"/>
                <a:gd name="T27" fmla="*/ 339 h 415"/>
                <a:gd name="T28" fmla="*/ 225 w 441"/>
                <a:gd name="T29" fmla="*/ 319 h 415"/>
                <a:gd name="T30" fmla="*/ 236 w 441"/>
                <a:gd name="T31" fmla="*/ 302 h 415"/>
                <a:gd name="T32" fmla="*/ 263 w 441"/>
                <a:gd name="T33" fmla="*/ 284 h 415"/>
                <a:gd name="T34" fmla="*/ 250 w 441"/>
                <a:gd name="T35" fmla="*/ 235 h 415"/>
                <a:gd name="T36" fmla="*/ 221 w 441"/>
                <a:gd name="T37" fmla="*/ 211 h 415"/>
                <a:gd name="T38" fmla="*/ 187 w 441"/>
                <a:gd name="T39" fmla="*/ 180 h 415"/>
                <a:gd name="T40" fmla="*/ 162 w 441"/>
                <a:gd name="T41" fmla="*/ 162 h 415"/>
                <a:gd name="T42" fmla="*/ 121 w 441"/>
                <a:gd name="T43" fmla="*/ 146 h 415"/>
                <a:gd name="T44" fmla="*/ 70 w 441"/>
                <a:gd name="T45" fmla="*/ 153 h 415"/>
                <a:gd name="T46" fmla="*/ 4 w 441"/>
                <a:gd name="T47" fmla="*/ 120 h 415"/>
                <a:gd name="T48" fmla="*/ 9 w 441"/>
                <a:gd name="T49" fmla="*/ 57 h 415"/>
                <a:gd name="T50" fmla="*/ 60 w 441"/>
                <a:gd name="T51" fmla="*/ 31 h 415"/>
                <a:gd name="T52" fmla="*/ 100 w 441"/>
                <a:gd name="T53" fmla="*/ 0 h 415"/>
                <a:gd name="T54" fmla="*/ 125 w 441"/>
                <a:gd name="T55" fmla="*/ 17 h 415"/>
                <a:gd name="T56" fmla="*/ 122 w 441"/>
                <a:gd name="T57" fmla="*/ 56 h 415"/>
                <a:gd name="T58" fmla="*/ 153 w 441"/>
                <a:gd name="T59" fmla="*/ 93 h 415"/>
                <a:gd name="T60" fmla="*/ 197 w 441"/>
                <a:gd name="T61" fmla="*/ 91 h 415"/>
                <a:gd name="T62" fmla="*/ 196 w 441"/>
                <a:gd name="T63" fmla="*/ 133 h 415"/>
                <a:gd name="T64" fmla="*/ 215 w 441"/>
                <a:gd name="T65" fmla="*/ 157 h 415"/>
                <a:gd name="T66" fmla="*/ 251 w 441"/>
                <a:gd name="T67" fmla="*/ 154 h 415"/>
                <a:gd name="T68" fmla="*/ 308 w 441"/>
                <a:gd name="T69" fmla="*/ 149 h 415"/>
                <a:gd name="T70" fmla="*/ 290 w 441"/>
                <a:gd name="T71" fmla="*/ 185 h 415"/>
                <a:gd name="T72" fmla="*/ 286 w 441"/>
                <a:gd name="T73" fmla="*/ 212 h 415"/>
                <a:gd name="T74" fmla="*/ 314 w 441"/>
                <a:gd name="T75" fmla="*/ 227 h 415"/>
                <a:gd name="T76" fmla="*/ 337 w 441"/>
                <a:gd name="T77" fmla="*/ 283 h 415"/>
                <a:gd name="T78" fmla="*/ 364 w 441"/>
                <a:gd name="T79" fmla="*/ 309 h 415"/>
                <a:gd name="T80" fmla="*/ 376 w 441"/>
                <a:gd name="T81" fmla="*/ 295 h 415"/>
                <a:gd name="T82" fmla="*/ 387 w 441"/>
                <a:gd name="T83" fmla="*/ 276 h 415"/>
                <a:gd name="T84" fmla="*/ 379 w 441"/>
                <a:gd name="T85" fmla="*/ 242 h 415"/>
                <a:gd name="T86" fmla="*/ 399 w 441"/>
                <a:gd name="T87" fmla="*/ 248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41" h="415">
                  <a:moveTo>
                    <a:pt x="441" y="273"/>
                  </a:moveTo>
                  <a:cubicBezTo>
                    <a:pt x="441" y="278"/>
                    <a:pt x="435" y="288"/>
                    <a:pt x="435" y="292"/>
                  </a:cubicBezTo>
                  <a:cubicBezTo>
                    <a:pt x="435" y="296"/>
                    <a:pt x="440" y="309"/>
                    <a:pt x="437" y="313"/>
                  </a:cubicBezTo>
                  <a:cubicBezTo>
                    <a:pt x="434" y="317"/>
                    <a:pt x="416" y="313"/>
                    <a:pt x="413" y="314"/>
                  </a:cubicBezTo>
                  <a:cubicBezTo>
                    <a:pt x="410" y="315"/>
                    <a:pt x="417" y="328"/>
                    <a:pt x="412" y="329"/>
                  </a:cubicBezTo>
                  <a:cubicBezTo>
                    <a:pt x="406" y="330"/>
                    <a:pt x="396" y="330"/>
                    <a:pt x="393" y="328"/>
                  </a:cubicBezTo>
                  <a:cubicBezTo>
                    <a:pt x="391" y="326"/>
                    <a:pt x="384" y="321"/>
                    <a:pt x="380" y="321"/>
                  </a:cubicBezTo>
                  <a:cubicBezTo>
                    <a:pt x="377" y="321"/>
                    <a:pt x="371" y="328"/>
                    <a:pt x="370" y="332"/>
                  </a:cubicBezTo>
                  <a:cubicBezTo>
                    <a:pt x="369" y="337"/>
                    <a:pt x="377" y="344"/>
                    <a:pt x="375" y="348"/>
                  </a:cubicBezTo>
                  <a:cubicBezTo>
                    <a:pt x="374" y="352"/>
                    <a:pt x="373" y="374"/>
                    <a:pt x="369" y="374"/>
                  </a:cubicBezTo>
                  <a:cubicBezTo>
                    <a:pt x="366" y="375"/>
                    <a:pt x="351" y="377"/>
                    <a:pt x="348" y="381"/>
                  </a:cubicBezTo>
                  <a:cubicBezTo>
                    <a:pt x="345" y="386"/>
                    <a:pt x="345" y="396"/>
                    <a:pt x="347" y="401"/>
                  </a:cubicBezTo>
                  <a:cubicBezTo>
                    <a:pt x="348" y="402"/>
                    <a:pt x="349" y="403"/>
                    <a:pt x="350" y="405"/>
                  </a:cubicBezTo>
                  <a:cubicBezTo>
                    <a:pt x="332" y="410"/>
                    <a:pt x="332" y="410"/>
                    <a:pt x="332" y="410"/>
                  </a:cubicBezTo>
                  <a:cubicBezTo>
                    <a:pt x="326" y="411"/>
                    <a:pt x="308" y="415"/>
                    <a:pt x="303" y="408"/>
                  </a:cubicBezTo>
                  <a:cubicBezTo>
                    <a:pt x="297" y="402"/>
                    <a:pt x="296" y="380"/>
                    <a:pt x="296" y="374"/>
                  </a:cubicBezTo>
                  <a:cubicBezTo>
                    <a:pt x="296" y="368"/>
                    <a:pt x="275" y="367"/>
                    <a:pt x="271" y="366"/>
                  </a:cubicBezTo>
                  <a:cubicBezTo>
                    <a:pt x="266" y="365"/>
                    <a:pt x="269" y="350"/>
                    <a:pt x="265" y="349"/>
                  </a:cubicBezTo>
                  <a:cubicBezTo>
                    <a:pt x="261" y="348"/>
                    <a:pt x="243" y="357"/>
                    <a:pt x="242" y="359"/>
                  </a:cubicBezTo>
                  <a:cubicBezTo>
                    <a:pt x="240" y="361"/>
                    <a:pt x="247" y="373"/>
                    <a:pt x="245" y="376"/>
                  </a:cubicBezTo>
                  <a:cubicBezTo>
                    <a:pt x="244" y="378"/>
                    <a:pt x="230" y="386"/>
                    <a:pt x="222" y="390"/>
                  </a:cubicBezTo>
                  <a:cubicBezTo>
                    <a:pt x="221" y="372"/>
                    <a:pt x="221" y="372"/>
                    <a:pt x="221" y="372"/>
                  </a:cubicBezTo>
                  <a:cubicBezTo>
                    <a:pt x="221" y="372"/>
                    <a:pt x="222" y="363"/>
                    <a:pt x="219" y="358"/>
                  </a:cubicBezTo>
                  <a:cubicBezTo>
                    <a:pt x="217" y="354"/>
                    <a:pt x="207" y="353"/>
                    <a:pt x="202" y="353"/>
                  </a:cubicBezTo>
                  <a:cubicBezTo>
                    <a:pt x="197" y="353"/>
                    <a:pt x="190" y="346"/>
                    <a:pt x="190" y="343"/>
                  </a:cubicBezTo>
                  <a:cubicBezTo>
                    <a:pt x="190" y="339"/>
                    <a:pt x="187" y="337"/>
                    <a:pt x="191" y="334"/>
                  </a:cubicBezTo>
                  <a:cubicBezTo>
                    <a:pt x="194" y="332"/>
                    <a:pt x="199" y="324"/>
                    <a:pt x="199" y="328"/>
                  </a:cubicBezTo>
                  <a:cubicBezTo>
                    <a:pt x="200" y="332"/>
                    <a:pt x="213" y="337"/>
                    <a:pt x="217" y="339"/>
                  </a:cubicBezTo>
                  <a:cubicBezTo>
                    <a:pt x="220" y="342"/>
                    <a:pt x="224" y="337"/>
                    <a:pt x="224" y="333"/>
                  </a:cubicBezTo>
                  <a:cubicBezTo>
                    <a:pt x="224" y="330"/>
                    <a:pt x="223" y="322"/>
                    <a:pt x="225" y="319"/>
                  </a:cubicBezTo>
                  <a:cubicBezTo>
                    <a:pt x="228" y="315"/>
                    <a:pt x="235" y="319"/>
                    <a:pt x="240" y="317"/>
                  </a:cubicBezTo>
                  <a:cubicBezTo>
                    <a:pt x="245" y="315"/>
                    <a:pt x="232" y="307"/>
                    <a:pt x="236" y="302"/>
                  </a:cubicBezTo>
                  <a:cubicBezTo>
                    <a:pt x="241" y="296"/>
                    <a:pt x="246" y="298"/>
                    <a:pt x="252" y="298"/>
                  </a:cubicBezTo>
                  <a:cubicBezTo>
                    <a:pt x="258" y="298"/>
                    <a:pt x="258" y="293"/>
                    <a:pt x="263" y="284"/>
                  </a:cubicBezTo>
                  <a:cubicBezTo>
                    <a:pt x="268" y="274"/>
                    <a:pt x="265" y="269"/>
                    <a:pt x="261" y="264"/>
                  </a:cubicBezTo>
                  <a:cubicBezTo>
                    <a:pt x="257" y="259"/>
                    <a:pt x="250" y="242"/>
                    <a:pt x="250" y="235"/>
                  </a:cubicBezTo>
                  <a:cubicBezTo>
                    <a:pt x="250" y="227"/>
                    <a:pt x="241" y="209"/>
                    <a:pt x="236" y="206"/>
                  </a:cubicBezTo>
                  <a:cubicBezTo>
                    <a:pt x="232" y="204"/>
                    <a:pt x="225" y="213"/>
                    <a:pt x="221" y="211"/>
                  </a:cubicBezTo>
                  <a:cubicBezTo>
                    <a:pt x="217" y="208"/>
                    <a:pt x="212" y="201"/>
                    <a:pt x="208" y="195"/>
                  </a:cubicBezTo>
                  <a:cubicBezTo>
                    <a:pt x="204" y="189"/>
                    <a:pt x="190" y="185"/>
                    <a:pt x="187" y="180"/>
                  </a:cubicBezTo>
                  <a:cubicBezTo>
                    <a:pt x="185" y="175"/>
                    <a:pt x="189" y="164"/>
                    <a:pt x="182" y="158"/>
                  </a:cubicBezTo>
                  <a:cubicBezTo>
                    <a:pt x="175" y="152"/>
                    <a:pt x="164" y="163"/>
                    <a:pt x="162" y="162"/>
                  </a:cubicBezTo>
                  <a:cubicBezTo>
                    <a:pt x="159" y="160"/>
                    <a:pt x="146" y="152"/>
                    <a:pt x="140" y="148"/>
                  </a:cubicBezTo>
                  <a:cubicBezTo>
                    <a:pt x="134" y="144"/>
                    <a:pt x="126" y="145"/>
                    <a:pt x="121" y="146"/>
                  </a:cubicBezTo>
                  <a:cubicBezTo>
                    <a:pt x="117" y="147"/>
                    <a:pt x="103" y="144"/>
                    <a:pt x="98" y="143"/>
                  </a:cubicBezTo>
                  <a:cubicBezTo>
                    <a:pt x="93" y="142"/>
                    <a:pt x="78" y="153"/>
                    <a:pt x="70" y="153"/>
                  </a:cubicBezTo>
                  <a:cubicBezTo>
                    <a:pt x="62" y="153"/>
                    <a:pt x="53" y="136"/>
                    <a:pt x="44" y="131"/>
                  </a:cubicBezTo>
                  <a:cubicBezTo>
                    <a:pt x="35" y="126"/>
                    <a:pt x="11" y="121"/>
                    <a:pt x="4" y="120"/>
                  </a:cubicBezTo>
                  <a:cubicBezTo>
                    <a:pt x="4" y="109"/>
                    <a:pt x="6" y="97"/>
                    <a:pt x="6" y="97"/>
                  </a:cubicBezTo>
                  <a:cubicBezTo>
                    <a:pt x="6" y="91"/>
                    <a:pt x="0" y="61"/>
                    <a:pt x="9" y="57"/>
                  </a:cubicBezTo>
                  <a:cubicBezTo>
                    <a:pt x="18" y="52"/>
                    <a:pt x="32" y="51"/>
                    <a:pt x="38" y="47"/>
                  </a:cubicBezTo>
                  <a:cubicBezTo>
                    <a:pt x="43" y="43"/>
                    <a:pt x="53" y="33"/>
                    <a:pt x="60" y="31"/>
                  </a:cubicBezTo>
                  <a:cubicBezTo>
                    <a:pt x="68" y="30"/>
                    <a:pt x="86" y="32"/>
                    <a:pt x="88" y="29"/>
                  </a:cubicBezTo>
                  <a:cubicBezTo>
                    <a:pt x="89" y="26"/>
                    <a:pt x="97" y="7"/>
                    <a:pt x="100" y="0"/>
                  </a:cubicBezTo>
                  <a:cubicBezTo>
                    <a:pt x="105" y="2"/>
                    <a:pt x="115" y="4"/>
                    <a:pt x="126" y="6"/>
                  </a:cubicBezTo>
                  <a:cubicBezTo>
                    <a:pt x="126" y="10"/>
                    <a:pt x="125" y="14"/>
                    <a:pt x="125" y="17"/>
                  </a:cubicBezTo>
                  <a:cubicBezTo>
                    <a:pt x="124" y="22"/>
                    <a:pt x="126" y="32"/>
                    <a:pt x="125" y="37"/>
                  </a:cubicBezTo>
                  <a:cubicBezTo>
                    <a:pt x="123" y="41"/>
                    <a:pt x="119" y="48"/>
                    <a:pt x="122" y="56"/>
                  </a:cubicBezTo>
                  <a:cubicBezTo>
                    <a:pt x="125" y="65"/>
                    <a:pt x="132" y="85"/>
                    <a:pt x="140" y="90"/>
                  </a:cubicBezTo>
                  <a:cubicBezTo>
                    <a:pt x="148" y="94"/>
                    <a:pt x="147" y="96"/>
                    <a:pt x="153" y="93"/>
                  </a:cubicBezTo>
                  <a:cubicBezTo>
                    <a:pt x="158" y="91"/>
                    <a:pt x="179" y="78"/>
                    <a:pt x="182" y="78"/>
                  </a:cubicBezTo>
                  <a:cubicBezTo>
                    <a:pt x="186" y="78"/>
                    <a:pt x="197" y="85"/>
                    <a:pt x="197" y="91"/>
                  </a:cubicBezTo>
                  <a:cubicBezTo>
                    <a:pt x="197" y="96"/>
                    <a:pt x="177" y="115"/>
                    <a:pt x="180" y="118"/>
                  </a:cubicBezTo>
                  <a:cubicBezTo>
                    <a:pt x="183" y="121"/>
                    <a:pt x="193" y="131"/>
                    <a:pt x="196" y="133"/>
                  </a:cubicBezTo>
                  <a:cubicBezTo>
                    <a:pt x="199" y="136"/>
                    <a:pt x="211" y="134"/>
                    <a:pt x="213" y="137"/>
                  </a:cubicBezTo>
                  <a:cubicBezTo>
                    <a:pt x="215" y="141"/>
                    <a:pt x="211" y="154"/>
                    <a:pt x="215" y="157"/>
                  </a:cubicBezTo>
                  <a:cubicBezTo>
                    <a:pt x="219" y="159"/>
                    <a:pt x="235" y="172"/>
                    <a:pt x="239" y="170"/>
                  </a:cubicBezTo>
                  <a:cubicBezTo>
                    <a:pt x="243" y="168"/>
                    <a:pt x="241" y="155"/>
                    <a:pt x="251" y="154"/>
                  </a:cubicBezTo>
                  <a:cubicBezTo>
                    <a:pt x="262" y="153"/>
                    <a:pt x="265" y="160"/>
                    <a:pt x="270" y="160"/>
                  </a:cubicBezTo>
                  <a:cubicBezTo>
                    <a:pt x="275" y="160"/>
                    <a:pt x="305" y="146"/>
                    <a:pt x="308" y="149"/>
                  </a:cubicBezTo>
                  <a:cubicBezTo>
                    <a:pt x="311" y="152"/>
                    <a:pt x="311" y="161"/>
                    <a:pt x="308" y="166"/>
                  </a:cubicBezTo>
                  <a:cubicBezTo>
                    <a:pt x="306" y="170"/>
                    <a:pt x="296" y="183"/>
                    <a:pt x="290" y="185"/>
                  </a:cubicBezTo>
                  <a:cubicBezTo>
                    <a:pt x="283" y="186"/>
                    <a:pt x="284" y="190"/>
                    <a:pt x="282" y="194"/>
                  </a:cubicBezTo>
                  <a:cubicBezTo>
                    <a:pt x="281" y="199"/>
                    <a:pt x="279" y="208"/>
                    <a:pt x="286" y="212"/>
                  </a:cubicBezTo>
                  <a:cubicBezTo>
                    <a:pt x="293" y="216"/>
                    <a:pt x="307" y="225"/>
                    <a:pt x="311" y="226"/>
                  </a:cubicBezTo>
                  <a:cubicBezTo>
                    <a:pt x="312" y="226"/>
                    <a:pt x="313" y="226"/>
                    <a:pt x="314" y="227"/>
                  </a:cubicBezTo>
                  <a:cubicBezTo>
                    <a:pt x="321" y="232"/>
                    <a:pt x="334" y="246"/>
                    <a:pt x="334" y="249"/>
                  </a:cubicBezTo>
                  <a:cubicBezTo>
                    <a:pt x="334" y="253"/>
                    <a:pt x="334" y="278"/>
                    <a:pt x="337" y="283"/>
                  </a:cubicBezTo>
                  <a:cubicBezTo>
                    <a:pt x="340" y="289"/>
                    <a:pt x="342" y="291"/>
                    <a:pt x="346" y="294"/>
                  </a:cubicBezTo>
                  <a:cubicBezTo>
                    <a:pt x="351" y="297"/>
                    <a:pt x="359" y="309"/>
                    <a:pt x="364" y="309"/>
                  </a:cubicBezTo>
                  <a:cubicBezTo>
                    <a:pt x="369" y="308"/>
                    <a:pt x="369" y="307"/>
                    <a:pt x="371" y="305"/>
                  </a:cubicBezTo>
                  <a:cubicBezTo>
                    <a:pt x="373" y="303"/>
                    <a:pt x="373" y="295"/>
                    <a:pt x="376" y="295"/>
                  </a:cubicBezTo>
                  <a:cubicBezTo>
                    <a:pt x="381" y="294"/>
                    <a:pt x="386" y="296"/>
                    <a:pt x="387" y="291"/>
                  </a:cubicBezTo>
                  <a:cubicBezTo>
                    <a:pt x="388" y="287"/>
                    <a:pt x="391" y="280"/>
                    <a:pt x="387" y="276"/>
                  </a:cubicBezTo>
                  <a:cubicBezTo>
                    <a:pt x="383" y="272"/>
                    <a:pt x="373" y="275"/>
                    <a:pt x="373" y="269"/>
                  </a:cubicBezTo>
                  <a:cubicBezTo>
                    <a:pt x="374" y="263"/>
                    <a:pt x="377" y="246"/>
                    <a:pt x="379" y="242"/>
                  </a:cubicBezTo>
                  <a:cubicBezTo>
                    <a:pt x="380" y="239"/>
                    <a:pt x="398" y="241"/>
                    <a:pt x="399" y="241"/>
                  </a:cubicBezTo>
                  <a:cubicBezTo>
                    <a:pt x="399" y="244"/>
                    <a:pt x="399" y="247"/>
                    <a:pt x="399" y="248"/>
                  </a:cubicBezTo>
                  <a:cubicBezTo>
                    <a:pt x="399" y="250"/>
                    <a:pt x="441" y="268"/>
                    <a:pt x="441" y="273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40" name="Freeform 209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507112" y="3722448"/>
              <a:ext cx="1110164" cy="996291"/>
            </a:xfrm>
            <a:custGeom>
              <a:avLst/>
              <a:gdLst>
                <a:gd name="T0" fmla="*/ 350 w 354"/>
                <a:gd name="T1" fmla="*/ 117 h 317"/>
                <a:gd name="T2" fmla="*/ 332 w 354"/>
                <a:gd name="T3" fmla="*/ 147 h 317"/>
                <a:gd name="T4" fmla="*/ 318 w 354"/>
                <a:gd name="T5" fmla="*/ 157 h 317"/>
                <a:gd name="T6" fmla="*/ 295 w 354"/>
                <a:gd name="T7" fmla="*/ 177 h 317"/>
                <a:gd name="T8" fmla="*/ 286 w 354"/>
                <a:gd name="T9" fmla="*/ 165 h 317"/>
                <a:gd name="T10" fmla="*/ 272 w 354"/>
                <a:gd name="T11" fmla="*/ 162 h 317"/>
                <a:gd name="T12" fmla="*/ 256 w 354"/>
                <a:gd name="T13" fmla="*/ 173 h 317"/>
                <a:gd name="T14" fmla="*/ 259 w 354"/>
                <a:gd name="T15" fmla="*/ 183 h 317"/>
                <a:gd name="T16" fmla="*/ 252 w 354"/>
                <a:gd name="T17" fmla="*/ 203 h 317"/>
                <a:gd name="T18" fmla="*/ 261 w 354"/>
                <a:gd name="T19" fmla="*/ 215 h 317"/>
                <a:gd name="T20" fmla="*/ 261 w 354"/>
                <a:gd name="T21" fmla="*/ 231 h 317"/>
                <a:gd name="T22" fmla="*/ 256 w 354"/>
                <a:gd name="T23" fmla="*/ 260 h 317"/>
                <a:gd name="T24" fmla="*/ 245 w 354"/>
                <a:gd name="T25" fmla="*/ 254 h 317"/>
                <a:gd name="T26" fmla="*/ 226 w 354"/>
                <a:gd name="T27" fmla="*/ 251 h 317"/>
                <a:gd name="T28" fmla="*/ 213 w 354"/>
                <a:gd name="T29" fmla="*/ 222 h 317"/>
                <a:gd name="T30" fmla="*/ 189 w 354"/>
                <a:gd name="T31" fmla="*/ 235 h 317"/>
                <a:gd name="T32" fmla="*/ 177 w 354"/>
                <a:gd name="T33" fmla="*/ 253 h 317"/>
                <a:gd name="T34" fmla="*/ 160 w 354"/>
                <a:gd name="T35" fmla="*/ 310 h 317"/>
                <a:gd name="T36" fmla="*/ 115 w 354"/>
                <a:gd name="T37" fmla="*/ 309 h 317"/>
                <a:gd name="T38" fmla="*/ 85 w 354"/>
                <a:gd name="T39" fmla="*/ 246 h 317"/>
                <a:gd name="T40" fmla="*/ 71 w 354"/>
                <a:gd name="T41" fmla="*/ 229 h 317"/>
                <a:gd name="T42" fmla="*/ 44 w 354"/>
                <a:gd name="T43" fmla="*/ 229 h 317"/>
                <a:gd name="T44" fmla="*/ 38 w 354"/>
                <a:gd name="T45" fmla="*/ 196 h 317"/>
                <a:gd name="T46" fmla="*/ 30 w 354"/>
                <a:gd name="T47" fmla="*/ 117 h 317"/>
                <a:gd name="T48" fmla="*/ 21 w 354"/>
                <a:gd name="T49" fmla="*/ 67 h 317"/>
                <a:gd name="T50" fmla="*/ 1 w 354"/>
                <a:gd name="T51" fmla="*/ 46 h 317"/>
                <a:gd name="T52" fmla="*/ 10 w 354"/>
                <a:gd name="T53" fmla="*/ 11 h 317"/>
                <a:gd name="T54" fmla="*/ 31 w 354"/>
                <a:gd name="T55" fmla="*/ 3 h 317"/>
                <a:gd name="T56" fmla="*/ 52 w 354"/>
                <a:gd name="T57" fmla="*/ 40 h 317"/>
                <a:gd name="T58" fmla="*/ 82 w 354"/>
                <a:gd name="T59" fmla="*/ 52 h 317"/>
                <a:gd name="T60" fmla="*/ 117 w 354"/>
                <a:gd name="T61" fmla="*/ 64 h 317"/>
                <a:gd name="T62" fmla="*/ 139 w 354"/>
                <a:gd name="T63" fmla="*/ 53 h 317"/>
                <a:gd name="T64" fmla="*/ 167 w 354"/>
                <a:gd name="T65" fmla="*/ 37 h 317"/>
                <a:gd name="T66" fmla="*/ 187 w 354"/>
                <a:gd name="T67" fmla="*/ 10 h 317"/>
                <a:gd name="T68" fmla="*/ 218 w 354"/>
                <a:gd name="T69" fmla="*/ 35 h 317"/>
                <a:gd name="T70" fmla="*/ 254 w 354"/>
                <a:gd name="T71" fmla="*/ 71 h 317"/>
                <a:gd name="T72" fmla="*/ 272 w 354"/>
                <a:gd name="T73" fmla="*/ 66 h 317"/>
                <a:gd name="T74" fmla="*/ 308 w 354"/>
                <a:gd name="T75" fmla="*/ 74 h 317"/>
                <a:gd name="T76" fmla="*/ 353 w 354"/>
                <a:gd name="T77" fmla="*/ 92 h 317"/>
                <a:gd name="T78" fmla="*/ 352 w 354"/>
                <a:gd name="T79" fmla="*/ 10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4" h="317">
                  <a:moveTo>
                    <a:pt x="352" y="109"/>
                  </a:moveTo>
                  <a:cubicBezTo>
                    <a:pt x="354" y="111"/>
                    <a:pt x="354" y="113"/>
                    <a:pt x="350" y="117"/>
                  </a:cubicBezTo>
                  <a:cubicBezTo>
                    <a:pt x="347" y="120"/>
                    <a:pt x="339" y="129"/>
                    <a:pt x="337" y="135"/>
                  </a:cubicBezTo>
                  <a:cubicBezTo>
                    <a:pt x="335" y="140"/>
                    <a:pt x="334" y="148"/>
                    <a:pt x="332" y="147"/>
                  </a:cubicBezTo>
                  <a:cubicBezTo>
                    <a:pt x="330" y="147"/>
                    <a:pt x="321" y="146"/>
                    <a:pt x="319" y="147"/>
                  </a:cubicBezTo>
                  <a:cubicBezTo>
                    <a:pt x="317" y="147"/>
                    <a:pt x="318" y="155"/>
                    <a:pt x="318" y="157"/>
                  </a:cubicBezTo>
                  <a:cubicBezTo>
                    <a:pt x="318" y="159"/>
                    <a:pt x="307" y="175"/>
                    <a:pt x="305" y="175"/>
                  </a:cubicBezTo>
                  <a:cubicBezTo>
                    <a:pt x="303" y="175"/>
                    <a:pt x="298" y="177"/>
                    <a:pt x="295" y="177"/>
                  </a:cubicBezTo>
                  <a:cubicBezTo>
                    <a:pt x="292" y="177"/>
                    <a:pt x="291" y="172"/>
                    <a:pt x="291" y="169"/>
                  </a:cubicBezTo>
                  <a:cubicBezTo>
                    <a:pt x="291" y="167"/>
                    <a:pt x="289" y="165"/>
                    <a:pt x="286" y="165"/>
                  </a:cubicBezTo>
                  <a:cubicBezTo>
                    <a:pt x="282" y="165"/>
                    <a:pt x="279" y="170"/>
                    <a:pt x="277" y="170"/>
                  </a:cubicBezTo>
                  <a:cubicBezTo>
                    <a:pt x="275" y="170"/>
                    <a:pt x="274" y="164"/>
                    <a:pt x="272" y="162"/>
                  </a:cubicBezTo>
                  <a:cubicBezTo>
                    <a:pt x="271" y="160"/>
                    <a:pt x="268" y="161"/>
                    <a:pt x="264" y="161"/>
                  </a:cubicBezTo>
                  <a:cubicBezTo>
                    <a:pt x="260" y="162"/>
                    <a:pt x="256" y="170"/>
                    <a:pt x="256" y="173"/>
                  </a:cubicBezTo>
                  <a:cubicBezTo>
                    <a:pt x="255" y="175"/>
                    <a:pt x="260" y="176"/>
                    <a:pt x="260" y="176"/>
                  </a:cubicBezTo>
                  <a:cubicBezTo>
                    <a:pt x="260" y="176"/>
                    <a:pt x="261" y="181"/>
                    <a:pt x="259" y="183"/>
                  </a:cubicBezTo>
                  <a:cubicBezTo>
                    <a:pt x="257" y="184"/>
                    <a:pt x="243" y="191"/>
                    <a:pt x="245" y="194"/>
                  </a:cubicBezTo>
                  <a:cubicBezTo>
                    <a:pt x="247" y="197"/>
                    <a:pt x="248" y="202"/>
                    <a:pt x="252" y="203"/>
                  </a:cubicBezTo>
                  <a:cubicBezTo>
                    <a:pt x="256" y="203"/>
                    <a:pt x="259" y="203"/>
                    <a:pt x="259" y="205"/>
                  </a:cubicBezTo>
                  <a:cubicBezTo>
                    <a:pt x="259" y="207"/>
                    <a:pt x="259" y="215"/>
                    <a:pt x="261" y="215"/>
                  </a:cubicBezTo>
                  <a:cubicBezTo>
                    <a:pt x="276" y="221"/>
                    <a:pt x="276" y="221"/>
                    <a:pt x="276" y="221"/>
                  </a:cubicBezTo>
                  <a:cubicBezTo>
                    <a:pt x="272" y="224"/>
                    <a:pt x="265" y="227"/>
                    <a:pt x="261" y="231"/>
                  </a:cubicBezTo>
                  <a:cubicBezTo>
                    <a:pt x="257" y="235"/>
                    <a:pt x="281" y="255"/>
                    <a:pt x="278" y="259"/>
                  </a:cubicBezTo>
                  <a:cubicBezTo>
                    <a:pt x="276" y="263"/>
                    <a:pt x="261" y="260"/>
                    <a:pt x="256" y="260"/>
                  </a:cubicBezTo>
                  <a:cubicBezTo>
                    <a:pt x="244" y="260"/>
                    <a:pt x="244" y="260"/>
                    <a:pt x="244" y="260"/>
                  </a:cubicBezTo>
                  <a:cubicBezTo>
                    <a:pt x="245" y="258"/>
                    <a:pt x="245" y="256"/>
                    <a:pt x="245" y="254"/>
                  </a:cubicBezTo>
                  <a:cubicBezTo>
                    <a:pt x="245" y="249"/>
                    <a:pt x="241" y="246"/>
                    <a:pt x="238" y="244"/>
                  </a:cubicBezTo>
                  <a:cubicBezTo>
                    <a:pt x="234" y="242"/>
                    <a:pt x="232" y="249"/>
                    <a:pt x="226" y="251"/>
                  </a:cubicBezTo>
                  <a:cubicBezTo>
                    <a:pt x="219" y="253"/>
                    <a:pt x="214" y="250"/>
                    <a:pt x="213" y="245"/>
                  </a:cubicBezTo>
                  <a:cubicBezTo>
                    <a:pt x="212" y="240"/>
                    <a:pt x="213" y="226"/>
                    <a:pt x="213" y="222"/>
                  </a:cubicBezTo>
                  <a:cubicBezTo>
                    <a:pt x="213" y="219"/>
                    <a:pt x="202" y="221"/>
                    <a:pt x="195" y="221"/>
                  </a:cubicBezTo>
                  <a:cubicBezTo>
                    <a:pt x="189" y="221"/>
                    <a:pt x="193" y="232"/>
                    <a:pt x="189" y="235"/>
                  </a:cubicBezTo>
                  <a:cubicBezTo>
                    <a:pt x="186" y="237"/>
                    <a:pt x="182" y="237"/>
                    <a:pt x="178" y="239"/>
                  </a:cubicBezTo>
                  <a:cubicBezTo>
                    <a:pt x="175" y="240"/>
                    <a:pt x="178" y="250"/>
                    <a:pt x="177" y="253"/>
                  </a:cubicBezTo>
                  <a:cubicBezTo>
                    <a:pt x="176" y="257"/>
                    <a:pt x="162" y="268"/>
                    <a:pt x="157" y="276"/>
                  </a:cubicBezTo>
                  <a:cubicBezTo>
                    <a:pt x="152" y="283"/>
                    <a:pt x="163" y="309"/>
                    <a:pt x="160" y="310"/>
                  </a:cubicBezTo>
                  <a:cubicBezTo>
                    <a:pt x="158" y="311"/>
                    <a:pt x="136" y="317"/>
                    <a:pt x="131" y="317"/>
                  </a:cubicBezTo>
                  <a:cubicBezTo>
                    <a:pt x="126" y="317"/>
                    <a:pt x="119" y="312"/>
                    <a:pt x="115" y="309"/>
                  </a:cubicBezTo>
                  <a:cubicBezTo>
                    <a:pt x="112" y="307"/>
                    <a:pt x="100" y="277"/>
                    <a:pt x="98" y="273"/>
                  </a:cubicBezTo>
                  <a:cubicBezTo>
                    <a:pt x="96" y="268"/>
                    <a:pt x="92" y="245"/>
                    <a:pt x="85" y="246"/>
                  </a:cubicBezTo>
                  <a:cubicBezTo>
                    <a:pt x="79" y="247"/>
                    <a:pt x="73" y="250"/>
                    <a:pt x="69" y="242"/>
                  </a:cubicBezTo>
                  <a:cubicBezTo>
                    <a:pt x="68" y="237"/>
                    <a:pt x="71" y="233"/>
                    <a:pt x="71" y="229"/>
                  </a:cubicBezTo>
                  <a:cubicBezTo>
                    <a:pt x="71" y="226"/>
                    <a:pt x="62" y="210"/>
                    <a:pt x="59" y="207"/>
                  </a:cubicBezTo>
                  <a:cubicBezTo>
                    <a:pt x="56" y="205"/>
                    <a:pt x="47" y="229"/>
                    <a:pt x="44" y="229"/>
                  </a:cubicBezTo>
                  <a:cubicBezTo>
                    <a:pt x="41" y="229"/>
                    <a:pt x="38" y="213"/>
                    <a:pt x="38" y="206"/>
                  </a:cubicBezTo>
                  <a:cubicBezTo>
                    <a:pt x="38" y="204"/>
                    <a:pt x="38" y="201"/>
                    <a:pt x="38" y="196"/>
                  </a:cubicBezTo>
                  <a:cubicBezTo>
                    <a:pt x="38" y="186"/>
                    <a:pt x="38" y="170"/>
                    <a:pt x="39" y="155"/>
                  </a:cubicBezTo>
                  <a:cubicBezTo>
                    <a:pt x="40" y="133"/>
                    <a:pt x="30" y="124"/>
                    <a:pt x="30" y="117"/>
                  </a:cubicBezTo>
                  <a:cubicBezTo>
                    <a:pt x="29" y="111"/>
                    <a:pt x="41" y="108"/>
                    <a:pt x="40" y="105"/>
                  </a:cubicBezTo>
                  <a:cubicBezTo>
                    <a:pt x="40" y="102"/>
                    <a:pt x="26" y="75"/>
                    <a:pt x="21" y="67"/>
                  </a:cubicBezTo>
                  <a:cubicBezTo>
                    <a:pt x="19" y="62"/>
                    <a:pt x="6" y="58"/>
                    <a:pt x="1" y="53"/>
                  </a:cubicBezTo>
                  <a:cubicBezTo>
                    <a:pt x="0" y="51"/>
                    <a:pt x="0" y="49"/>
                    <a:pt x="1" y="46"/>
                  </a:cubicBezTo>
                  <a:cubicBezTo>
                    <a:pt x="5" y="37"/>
                    <a:pt x="15" y="23"/>
                    <a:pt x="15" y="20"/>
                  </a:cubicBezTo>
                  <a:cubicBezTo>
                    <a:pt x="15" y="16"/>
                    <a:pt x="12" y="13"/>
                    <a:pt x="10" y="11"/>
                  </a:cubicBezTo>
                  <a:cubicBezTo>
                    <a:pt x="7" y="9"/>
                    <a:pt x="8" y="6"/>
                    <a:pt x="12" y="3"/>
                  </a:cubicBezTo>
                  <a:cubicBezTo>
                    <a:pt x="17" y="1"/>
                    <a:pt x="25" y="0"/>
                    <a:pt x="31" y="3"/>
                  </a:cubicBezTo>
                  <a:cubicBezTo>
                    <a:pt x="38" y="5"/>
                    <a:pt x="44" y="14"/>
                    <a:pt x="47" y="20"/>
                  </a:cubicBezTo>
                  <a:cubicBezTo>
                    <a:pt x="49" y="26"/>
                    <a:pt x="47" y="33"/>
                    <a:pt x="52" y="40"/>
                  </a:cubicBezTo>
                  <a:cubicBezTo>
                    <a:pt x="57" y="46"/>
                    <a:pt x="61" y="49"/>
                    <a:pt x="67" y="55"/>
                  </a:cubicBezTo>
                  <a:cubicBezTo>
                    <a:pt x="73" y="61"/>
                    <a:pt x="78" y="52"/>
                    <a:pt x="82" y="52"/>
                  </a:cubicBezTo>
                  <a:cubicBezTo>
                    <a:pt x="86" y="52"/>
                    <a:pt x="89" y="62"/>
                    <a:pt x="96" y="65"/>
                  </a:cubicBezTo>
                  <a:cubicBezTo>
                    <a:pt x="103" y="68"/>
                    <a:pt x="112" y="67"/>
                    <a:pt x="117" y="64"/>
                  </a:cubicBezTo>
                  <a:cubicBezTo>
                    <a:pt x="120" y="62"/>
                    <a:pt x="111" y="50"/>
                    <a:pt x="123" y="46"/>
                  </a:cubicBezTo>
                  <a:cubicBezTo>
                    <a:pt x="127" y="44"/>
                    <a:pt x="136" y="53"/>
                    <a:pt x="139" y="53"/>
                  </a:cubicBezTo>
                  <a:cubicBezTo>
                    <a:pt x="139" y="53"/>
                    <a:pt x="142" y="53"/>
                    <a:pt x="144" y="51"/>
                  </a:cubicBezTo>
                  <a:cubicBezTo>
                    <a:pt x="152" y="47"/>
                    <a:pt x="166" y="39"/>
                    <a:pt x="167" y="37"/>
                  </a:cubicBezTo>
                  <a:cubicBezTo>
                    <a:pt x="169" y="34"/>
                    <a:pt x="162" y="22"/>
                    <a:pt x="164" y="20"/>
                  </a:cubicBezTo>
                  <a:cubicBezTo>
                    <a:pt x="165" y="18"/>
                    <a:pt x="183" y="9"/>
                    <a:pt x="187" y="10"/>
                  </a:cubicBezTo>
                  <a:cubicBezTo>
                    <a:pt x="191" y="11"/>
                    <a:pt x="188" y="26"/>
                    <a:pt x="193" y="27"/>
                  </a:cubicBezTo>
                  <a:cubicBezTo>
                    <a:pt x="197" y="28"/>
                    <a:pt x="218" y="29"/>
                    <a:pt x="218" y="35"/>
                  </a:cubicBezTo>
                  <a:cubicBezTo>
                    <a:pt x="218" y="41"/>
                    <a:pt x="219" y="63"/>
                    <a:pt x="225" y="69"/>
                  </a:cubicBezTo>
                  <a:cubicBezTo>
                    <a:pt x="230" y="76"/>
                    <a:pt x="248" y="72"/>
                    <a:pt x="254" y="71"/>
                  </a:cubicBezTo>
                  <a:cubicBezTo>
                    <a:pt x="272" y="66"/>
                    <a:pt x="272" y="66"/>
                    <a:pt x="272" y="66"/>
                  </a:cubicBezTo>
                  <a:cubicBezTo>
                    <a:pt x="272" y="66"/>
                    <a:pt x="272" y="66"/>
                    <a:pt x="272" y="66"/>
                  </a:cubicBezTo>
                  <a:cubicBezTo>
                    <a:pt x="275" y="70"/>
                    <a:pt x="279" y="75"/>
                    <a:pt x="282" y="75"/>
                  </a:cubicBezTo>
                  <a:cubicBezTo>
                    <a:pt x="285" y="75"/>
                    <a:pt x="304" y="72"/>
                    <a:pt x="308" y="74"/>
                  </a:cubicBezTo>
                  <a:cubicBezTo>
                    <a:pt x="312" y="75"/>
                    <a:pt x="334" y="94"/>
                    <a:pt x="336" y="94"/>
                  </a:cubicBezTo>
                  <a:cubicBezTo>
                    <a:pt x="339" y="94"/>
                    <a:pt x="349" y="91"/>
                    <a:pt x="353" y="92"/>
                  </a:cubicBezTo>
                  <a:cubicBezTo>
                    <a:pt x="353" y="92"/>
                    <a:pt x="348" y="102"/>
                    <a:pt x="347" y="103"/>
                  </a:cubicBezTo>
                  <a:cubicBezTo>
                    <a:pt x="345" y="105"/>
                    <a:pt x="350" y="108"/>
                    <a:pt x="352" y="109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41" name="Freeform 210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3245830" y="3139712"/>
              <a:ext cx="302582" cy="490835"/>
            </a:xfrm>
            <a:custGeom>
              <a:avLst/>
              <a:gdLst>
                <a:gd name="T0" fmla="*/ 96 w 96"/>
                <a:gd name="T1" fmla="*/ 62 h 156"/>
                <a:gd name="T2" fmla="*/ 89 w 96"/>
                <a:gd name="T3" fmla="*/ 69 h 156"/>
                <a:gd name="T4" fmla="*/ 85 w 96"/>
                <a:gd name="T5" fmla="*/ 88 h 156"/>
                <a:gd name="T6" fmla="*/ 65 w 96"/>
                <a:gd name="T7" fmla="*/ 89 h 156"/>
                <a:gd name="T8" fmla="*/ 59 w 96"/>
                <a:gd name="T9" fmla="*/ 116 h 156"/>
                <a:gd name="T10" fmla="*/ 73 w 96"/>
                <a:gd name="T11" fmla="*/ 123 h 156"/>
                <a:gd name="T12" fmla="*/ 73 w 96"/>
                <a:gd name="T13" fmla="*/ 138 h 156"/>
                <a:gd name="T14" fmla="*/ 62 w 96"/>
                <a:gd name="T15" fmla="*/ 142 h 156"/>
                <a:gd name="T16" fmla="*/ 57 w 96"/>
                <a:gd name="T17" fmla="*/ 152 h 156"/>
                <a:gd name="T18" fmla="*/ 50 w 96"/>
                <a:gd name="T19" fmla="*/ 156 h 156"/>
                <a:gd name="T20" fmla="*/ 32 w 96"/>
                <a:gd name="T21" fmla="*/ 141 h 156"/>
                <a:gd name="T22" fmla="*/ 23 w 96"/>
                <a:gd name="T23" fmla="*/ 130 h 156"/>
                <a:gd name="T24" fmla="*/ 20 w 96"/>
                <a:gd name="T25" fmla="*/ 96 h 156"/>
                <a:gd name="T26" fmla="*/ 0 w 96"/>
                <a:gd name="T27" fmla="*/ 74 h 156"/>
                <a:gd name="T28" fmla="*/ 20 w 96"/>
                <a:gd name="T29" fmla="*/ 65 h 156"/>
                <a:gd name="T30" fmla="*/ 41 w 96"/>
                <a:gd name="T31" fmla="*/ 63 h 156"/>
                <a:gd name="T32" fmla="*/ 41 w 96"/>
                <a:gd name="T33" fmla="*/ 28 h 156"/>
                <a:gd name="T34" fmla="*/ 58 w 96"/>
                <a:gd name="T35" fmla="*/ 4 h 156"/>
                <a:gd name="T36" fmla="*/ 71 w 96"/>
                <a:gd name="T37" fmla="*/ 1 h 156"/>
                <a:gd name="T38" fmla="*/ 78 w 96"/>
                <a:gd name="T39" fmla="*/ 17 h 156"/>
                <a:gd name="T40" fmla="*/ 66 w 96"/>
                <a:gd name="T41" fmla="*/ 42 h 156"/>
                <a:gd name="T42" fmla="*/ 81 w 96"/>
                <a:gd name="T43" fmla="*/ 47 h 156"/>
                <a:gd name="T44" fmla="*/ 96 w 96"/>
                <a:gd name="T45" fmla="*/ 6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156">
                  <a:moveTo>
                    <a:pt x="96" y="62"/>
                  </a:moveTo>
                  <a:cubicBezTo>
                    <a:pt x="96" y="62"/>
                    <a:pt x="90" y="66"/>
                    <a:pt x="89" y="69"/>
                  </a:cubicBezTo>
                  <a:cubicBezTo>
                    <a:pt x="86" y="73"/>
                    <a:pt x="86" y="82"/>
                    <a:pt x="85" y="88"/>
                  </a:cubicBezTo>
                  <a:cubicBezTo>
                    <a:pt x="84" y="88"/>
                    <a:pt x="66" y="86"/>
                    <a:pt x="65" y="89"/>
                  </a:cubicBezTo>
                  <a:cubicBezTo>
                    <a:pt x="63" y="93"/>
                    <a:pt x="60" y="110"/>
                    <a:pt x="59" y="116"/>
                  </a:cubicBezTo>
                  <a:cubicBezTo>
                    <a:pt x="59" y="122"/>
                    <a:pt x="69" y="119"/>
                    <a:pt x="73" y="123"/>
                  </a:cubicBezTo>
                  <a:cubicBezTo>
                    <a:pt x="77" y="127"/>
                    <a:pt x="74" y="134"/>
                    <a:pt x="73" y="138"/>
                  </a:cubicBezTo>
                  <a:cubicBezTo>
                    <a:pt x="72" y="143"/>
                    <a:pt x="67" y="141"/>
                    <a:pt x="62" y="142"/>
                  </a:cubicBezTo>
                  <a:cubicBezTo>
                    <a:pt x="59" y="142"/>
                    <a:pt x="59" y="150"/>
                    <a:pt x="57" y="152"/>
                  </a:cubicBezTo>
                  <a:cubicBezTo>
                    <a:pt x="55" y="154"/>
                    <a:pt x="55" y="155"/>
                    <a:pt x="50" y="156"/>
                  </a:cubicBezTo>
                  <a:cubicBezTo>
                    <a:pt x="45" y="156"/>
                    <a:pt x="37" y="144"/>
                    <a:pt x="32" y="141"/>
                  </a:cubicBezTo>
                  <a:cubicBezTo>
                    <a:pt x="28" y="138"/>
                    <a:pt x="26" y="136"/>
                    <a:pt x="23" y="130"/>
                  </a:cubicBezTo>
                  <a:cubicBezTo>
                    <a:pt x="20" y="125"/>
                    <a:pt x="20" y="100"/>
                    <a:pt x="20" y="96"/>
                  </a:cubicBezTo>
                  <a:cubicBezTo>
                    <a:pt x="20" y="93"/>
                    <a:pt x="7" y="79"/>
                    <a:pt x="0" y="74"/>
                  </a:cubicBezTo>
                  <a:cubicBezTo>
                    <a:pt x="0" y="74"/>
                    <a:pt x="16" y="66"/>
                    <a:pt x="20" y="65"/>
                  </a:cubicBezTo>
                  <a:cubicBezTo>
                    <a:pt x="27" y="64"/>
                    <a:pt x="40" y="68"/>
                    <a:pt x="41" y="63"/>
                  </a:cubicBezTo>
                  <a:cubicBezTo>
                    <a:pt x="41" y="58"/>
                    <a:pt x="38" y="34"/>
                    <a:pt x="41" y="28"/>
                  </a:cubicBezTo>
                  <a:cubicBezTo>
                    <a:pt x="44" y="22"/>
                    <a:pt x="54" y="5"/>
                    <a:pt x="58" y="4"/>
                  </a:cubicBezTo>
                  <a:cubicBezTo>
                    <a:pt x="62" y="2"/>
                    <a:pt x="67" y="0"/>
                    <a:pt x="71" y="1"/>
                  </a:cubicBezTo>
                  <a:cubicBezTo>
                    <a:pt x="75" y="1"/>
                    <a:pt x="76" y="15"/>
                    <a:pt x="78" y="17"/>
                  </a:cubicBezTo>
                  <a:cubicBezTo>
                    <a:pt x="81" y="19"/>
                    <a:pt x="67" y="39"/>
                    <a:pt x="66" y="42"/>
                  </a:cubicBezTo>
                  <a:cubicBezTo>
                    <a:pt x="65" y="45"/>
                    <a:pt x="76" y="47"/>
                    <a:pt x="81" y="47"/>
                  </a:cubicBezTo>
                  <a:cubicBezTo>
                    <a:pt x="87" y="47"/>
                    <a:pt x="92" y="61"/>
                    <a:pt x="96" y="62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42" name="Freeform 211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2379818" y="4338603"/>
              <a:ext cx="972437" cy="962872"/>
            </a:xfrm>
            <a:custGeom>
              <a:avLst/>
              <a:gdLst>
                <a:gd name="T0" fmla="*/ 307 w 309"/>
                <a:gd name="T1" fmla="*/ 224 h 306"/>
                <a:gd name="T2" fmla="*/ 284 w 309"/>
                <a:gd name="T3" fmla="*/ 239 h 306"/>
                <a:gd name="T4" fmla="*/ 269 w 309"/>
                <a:gd name="T5" fmla="*/ 236 h 306"/>
                <a:gd name="T6" fmla="*/ 205 w 309"/>
                <a:gd name="T7" fmla="*/ 250 h 306"/>
                <a:gd name="T8" fmla="*/ 178 w 309"/>
                <a:gd name="T9" fmla="*/ 246 h 306"/>
                <a:gd name="T10" fmla="*/ 140 w 309"/>
                <a:gd name="T11" fmla="*/ 268 h 306"/>
                <a:gd name="T12" fmla="*/ 130 w 309"/>
                <a:gd name="T13" fmla="*/ 306 h 306"/>
                <a:gd name="T14" fmla="*/ 90 w 309"/>
                <a:gd name="T15" fmla="*/ 293 h 306"/>
                <a:gd name="T16" fmla="*/ 59 w 309"/>
                <a:gd name="T17" fmla="*/ 265 h 306"/>
                <a:gd name="T18" fmla="*/ 52 w 309"/>
                <a:gd name="T19" fmla="*/ 220 h 306"/>
                <a:gd name="T20" fmla="*/ 25 w 309"/>
                <a:gd name="T21" fmla="*/ 188 h 306"/>
                <a:gd name="T22" fmla="*/ 3 w 309"/>
                <a:gd name="T23" fmla="*/ 185 h 306"/>
                <a:gd name="T24" fmla="*/ 12 w 309"/>
                <a:gd name="T25" fmla="*/ 155 h 306"/>
                <a:gd name="T26" fmla="*/ 57 w 309"/>
                <a:gd name="T27" fmla="*/ 54 h 306"/>
                <a:gd name="T28" fmla="*/ 43 w 309"/>
                <a:gd name="T29" fmla="*/ 40 h 306"/>
                <a:gd name="T30" fmla="*/ 50 w 309"/>
                <a:gd name="T31" fmla="*/ 27 h 306"/>
                <a:gd name="T32" fmla="*/ 59 w 309"/>
                <a:gd name="T33" fmla="*/ 1 h 306"/>
                <a:gd name="T34" fmla="*/ 78 w 309"/>
                <a:gd name="T35" fmla="*/ 10 h 306"/>
                <a:gd name="T36" fmla="*/ 99 w 309"/>
                <a:gd name="T37" fmla="*/ 11 h 306"/>
                <a:gd name="T38" fmla="*/ 109 w 309"/>
                <a:gd name="T39" fmla="*/ 46 h 306"/>
                <a:gd name="T40" fmla="*/ 138 w 309"/>
                <a:gd name="T41" fmla="*/ 77 h 306"/>
                <a:gd name="T42" fmla="*/ 171 w 309"/>
                <a:gd name="T43" fmla="*/ 121 h 306"/>
                <a:gd name="T44" fmla="*/ 197 w 309"/>
                <a:gd name="T45" fmla="*/ 80 h 306"/>
                <a:gd name="T46" fmla="*/ 218 w 309"/>
                <a:gd name="T47" fmla="*/ 43 h 306"/>
                <a:gd name="T48" fmla="*/ 235 w 309"/>
                <a:gd name="T49" fmla="*/ 25 h 306"/>
                <a:gd name="T50" fmla="*/ 253 w 309"/>
                <a:gd name="T51" fmla="*/ 49 h 306"/>
                <a:gd name="T52" fmla="*/ 278 w 309"/>
                <a:gd name="T53" fmla="*/ 48 h 306"/>
                <a:gd name="T54" fmla="*/ 284 w 309"/>
                <a:gd name="T55" fmla="*/ 64 h 306"/>
                <a:gd name="T56" fmla="*/ 257 w 309"/>
                <a:gd name="T57" fmla="*/ 81 h 306"/>
                <a:gd name="T58" fmla="*/ 228 w 309"/>
                <a:gd name="T59" fmla="*/ 89 h 306"/>
                <a:gd name="T60" fmla="*/ 240 w 309"/>
                <a:gd name="T61" fmla="*/ 109 h 306"/>
                <a:gd name="T62" fmla="*/ 260 w 309"/>
                <a:gd name="T63" fmla="*/ 117 h 306"/>
                <a:gd name="T64" fmla="*/ 257 w 309"/>
                <a:gd name="T65" fmla="*/ 158 h 306"/>
                <a:gd name="T66" fmla="*/ 248 w 309"/>
                <a:gd name="T67" fmla="*/ 180 h 306"/>
                <a:gd name="T68" fmla="*/ 272 w 309"/>
                <a:gd name="T69" fmla="*/ 194 h 306"/>
                <a:gd name="T70" fmla="*/ 304 w 309"/>
                <a:gd name="T71" fmla="*/ 2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9" h="306">
                  <a:moveTo>
                    <a:pt x="304" y="206"/>
                  </a:moveTo>
                  <a:cubicBezTo>
                    <a:pt x="309" y="208"/>
                    <a:pt x="309" y="218"/>
                    <a:pt x="307" y="224"/>
                  </a:cubicBezTo>
                  <a:cubicBezTo>
                    <a:pt x="304" y="229"/>
                    <a:pt x="300" y="227"/>
                    <a:pt x="297" y="228"/>
                  </a:cubicBezTo>
                  <a:cubicBezTo>
                    <a:pt x="284" y="239"/>
                    <a:pt x="284" y="239"/>
                    <a:pt x="284" y="239"/>
                  </a:cubicBezTo>
                  <a:cubicBezTo>
                    <a:pt x="281" y="235"/>
                    <a:pt x="278" y="231"/>
                    <a:pt x="277" y="231"/>
                  </a:cubicBezTo>
                  <a:cubicBezTo>
                    <a:pt x="275" y="231"/>
                    <a:pt x="272" y="235"/>
                    <a:pt x="269" y="236"/>
                  </a:cubicBezTo>
                  <a:cubicBezTo>
                    <a:pt x="269" y="236"/>
                    <a:pt x="242" y="251"/>
                    <a:pt x="235" y="252"/>
                  </a:cubicBezTo>
                  <a:cubicBezTo>
                    <a:pt x="228" y="253"/>
                    <a:pt x="209" y="250"/>
                    <a:pt x="205" y="250"/>
                  </a:cubicBezTo>
                  <a:cubicBezTo>
                    <a:pt x="201" y="250"/>
                    <a:pt x="202" y="264"/>
                    <a:pt x="195" y="264"/>
                  </a:cubicBezTo>
                  <a:cubicBezTo>
                    <a:pt x="188" y="264"/>
                    <a:pt x="181" y="246"/>
                    <a:pt x="178" y="246"/>
                  </a:cubicBezTo>
                  <a:cubicBezTo>
                    <a:pt x="175" y="246"/>
                    <a:pt x="163" y="259"/>
                    <a:pt x="157" y="259"/>
                  </a:cubicBezTo>
                  <a:cubicBezTo>
                    <a:pt x="151" y="259"/>
                    <a:pt x="140" y="264"/>
                    <a:pt x="140" y="268"/>
                  </a:cubicBezTo>
                  <a:cubicBezTo>
                    <a:pt x="140" y="272"/>
                    <a:pt x="151" y="306"/>
                    <a:pt x="146" y="306"/>
                  </a:cubicBezTo>
                  <a:cubicBezTo>
                    <a:pt x="141" y="306"/>
                    <a:pt x="134" y="306"/>
                    <a:pt x="130" y="306"/>
                  </a:cubicBezTo>
                  <a:cubicBezTo>
                    <a:pt x="126" y="306"/>
                    <a:pt x="125" y="282"/>
                    <a:pt x="121" y="282"/>
                  </a:cubicBezTo>
                  <a:cubicBezTo>
                    <a:pt x="117" y="282"/>
                    <a:pt x="95" y="293"/>
                    <a:pt x="90" y="293"/>
                  </a:cubicBezTo>
                  <a:cubicBezTo>
                    <a:pt x="85" y="293"/>
                    <a:pt x="84" y="276"/>
                    <a:pt x="84" y="271"/>
                  </a:cubicBezTo>
                  <a:cubicBezTo>
                    <a:pt x="84" y="266"/>
                    <a:pt x="67" y="267"/>
                    <a:pt x="59" y="265"/>
                  </a:cubicBezTo>
                  <a:cubicBezTo>
                    <a:pt x="51" y="263"/>
                    <a:pt x="76" y="229"/>
                    <a:pt x="72" y="227"/>
                  </a:cubicBezTo>
                  <a:cubicBezTo>
                    <a:pt x="68" y="225"/>
                    <a:pt x="55" y="222"/>
                    <a:pt x="52" y="220"/>
                  </a:cubicBezTo>
                  <a:cubicBezTo>
                    <a:pt x="49" y="218"/>
                    <a:pt x="53" y="186"/>
                    <a:pt x="48" y="186"/>
                  </a:cubicBezTo>
                  <a:cubicBezTo>
                    <a:pt x="43" y="186"/>
                    <a:pt x="30" y="185"/>
                    <a:pt x="25" y="188"/>
                  </a:cubicBezTo>
                  <a:cubicBezTo>
                    <a:pt x="20" y="191"/>
                    <a:pt x="12" y="200"/>
                    <a:pt x="10" y="197"/>
                  </a:cubicBezTo>
                  <a:cubicBezTo>
                    <a:pt x="8" y="194"/>
                    <a:pt x="0" y="186"/>
                    <a:pt x="3" y="185"/>
                  </a:cubicBezTo>
                  <a:cubicBezTo>
                    <a:pt x="6" y="184"/>
                    <a:pt x="12" y="177"/>
                    <a:pt x="12" y="173"/>
                  </a:cubicBezTo>
                  <a:cubicBezTo>
                    <a:pt x="12" y="169"/>
                    <a:pt x="9" y="167"/>
                    <a:pt x="12" y="155"/>
                  </a:cubicBezTo>
                  <a:cubicBezTo>
                    <a:pt x="15" y="143"/>
                    <a:pt x="49" y="123"/>
                    <a:pt x="51" y="117"/>
                  </a:cubicBezTo>
                  <a:cubicBezTo>
                    <a:pt x="53" y="111"/>
                    <a:pt x="60" y="58"/>
                    <a:pt x="57" y="54"/>
                  </a:cubicBezTo>
                  <a:cubicBezTo>
                    <a:pt x="54" y="50"/>
                    <a:pt x="46" y="53"/>
                    <a:pt x="43" y="53"/>
                  </a:cubicBezTo>
                  <a:cubicBezTo>
                    <a:pt x="40" y="53"/>
                    <a:pt x="43" y="50"/>
                    <a:pt x="43" y="40"/>
                  </a:cubicBezTo>
                  <a:cubicBezTo>
                    <a:pt x="43" y="37"/>
                    <a:pt x="42" y="33"/>
                    <a:pt x="41" y="30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4" y="26"/>
                    <a:pt x="56" y="22"/>
                    <a:pt x="57" y="16"/>
                  </a:cubicBezTo>
                  <a:cubicBezTo>
                    <a:pt x="57" y="10"/>
                    <a:pt x="55" y="2"/>
                    <a:pt x="59" y="1"/>
                  </a:cubicBezTo>
                  <a:cubicBezTo>
                    <a:pt x="63" y="0"/>
                    <a:pt x="78" y="0"/>
                    <a:pt x="78" y="0"/>
                  </a:cubicBezTo>
                  <a:cubicBezTo>
                    <a:pt x="78" y="5"/>
                    <a:pt x="78" y="8"/>
                    <a:pt x="78" y="10"/>
                  </a:cubicBezTo>
                  <a:cubicBezTo>
                    <a:pt x="78" y="17"/>
                    <a:pt x="81" y="33"/>
                    <a:pt x="84" y="33"/>
                  </a:cubicBezTo>
                  <a:cubicBezTo>
                    <a:pt x="87" y="33"/>
                    <a:pt x="96" y="9"/>
                    <a:pt x="99" y="11"/>
                  </a:cubicBezTo>
                  <a:cubicBezTo>
                    <a:pt x="102" y="14"/>
                    <a:pt x="111" y="30"/>
                    <a:pt x="111" y="33"/>
                  </a:cubicBezTo>
                  <a:cubicBezTo>
                    <a:pt x="111" y="37"/>
                    <a:pt x="108" y="41"/>
                    <a:pt x="109" y="46"/>
                  </a:cubicBezTo>
                  <a:cubicBezTo>
                    <a:pt x="113" y="54"/>
                    <a:pt x="119" y="51"/>
                    <a:pt x="125" y="50"/>
                  </a:cubicBezTo>
                  <a:cubicBezTo>
                    <a:pt x="132" y="49"/>
                    <a:pt x="136" y="72"/>
                    <a:pt x="138" y="77"/>
                  </a:cubicBezTo>
                  <a:cubicBezTo>
                    <a:pt x="140" y="81"/>
                    <a:pt x="152" y="111"/>
                    <a:pt x="155" y="113"/>
                  </a:cubicBezTo>
                  <a:cubicBezTo>
                    <a:pt x="159" y="116"/>
                    <a:pt x="166" y="121"/>
                    <a:pt x="171" y="121"/>
                  </a:cubicBezTo>
                  <a:cubicBezTo>
                    <a:pt x="176" y="121"/>
                    <a:pt x="198" y="115"/>
                    <a:pt x="200" y="114"/>
                  </a:cubicBezTo>
                  <a:cubicBezTo>
                    <a:pt x="203" y="113"/>
                    <a:pt x="192" y="87"/>
                    <a:pt x="197" y="80"/>
                  </a:cubicBezTo>
                  <a:cubicBezTo>
                    <a:pt x="202" y="72"/>
                    <a:pt x="216" y="61"/>
                    <a:pt x="217" y="57"/>
                  </a:cubicBezTo>
                  <a:cubicBezTo>
                    <a:pt x="218" y="54"/>
                    <a:pt x="215" y="44"/>
                    <a:pt x="218" y="43"/>
                  </a:cubicBezTo>
                  <a:cubicBezTo>
                    <a:pt x="222" y="41"/>
                    <a:pt x="226" y="41"/>
                    <a:pt x="229" y="39"/>
                  </a:cubicBezTo>
                  <a:cubicBezTo>
                    <a:pt x="233" y="36"/>
                    <a:pt x="229" y="25"/>
                    <a:pt x="235" y="25"/>
                  </a:cubicBezTo>
                  <a:cubicBezTo>
                    <a:pt x="242" y="25"/>
                    <a:pt x="253" y="23"/>
                    <a:pt x="253" y="26"/>
                  </a:cubicBezTo>
                  <a:cubicBezTo>
                    <a:pt x="253" y="30"/>
                    <a:pt x="252" y="44"/>
                    <a:pt x="253" y="49"/>
                  </a:cubicBezTo>
                  <a:cubicBezTo>
                    <a:pt x="254" y="54"/>
                    <a:pt x="259" y="57"/>
                    <a:pt x="266" y="55"/>
                  </a:cubicBezTo>
                  <a:cubicBezTo>
                    <a:pt x="272" y="53"/>
                    <a:pt x="274" y="46"/>
                    <a:pt x="278" y="48"/>
                  </a:cubicBezTo>
                  <a:cubicBezTo>
                    <a:pt x="281" y="50"/>
                    <a:pt x="285" y="53"/>
                    <a:pt x="285" y="58"/>
                  </a:cubicBezTo>
                  <a:cubicBezTo>
                    <a:pt x="285" y="60"/>
                    <a:pt x="285" y="62"/>
                    <a:pt x="284" y="64"/>
                  </a:cubicBezTo>
                  <a:cubicBezTo>
                    <a:pt x="284" y="69"/>
                    <a:pt x="283" y="75"/>
                    <a:pt x="280" y="78"/>
                  </a:cubicBezTo>
                  <a:cubicBezTo>
                    <a:pt x="276" y="81"/>
                    <a:pt x="261" y="82"/>
                    <a:pt x="257" y="81"/>
                  </a:cubicBezTo>
                  <a:cubicBezTo>
                    <a:pt x="252" y="81"/>
                    <a:pt x="244" y="78"/>
                    <a:pt x="240" y="78"/>
                  </a:cubicBezTo>
                  <a:cubicBezTo>
                    <a:pt x="236" y="78"/>
                    <a:pt x="230" y="86"/>
                    <a:pt x="228" y="89"/>
                  </a:cubicBezTo>
                  <a:cubicBezTo>
                    <a:pt x="226" y="91"/>
                    <a:pt x="227" y="101"/>
                    <a:pt x="229" y="106"/>
                  </a:cubicBezTo>
                  <a:cubicBezTo>
                    <a:pt x="231" y="111"/>
                    <a:pt x="236" y="109"/>
                    <a:pt x="240" y="109"/>
                  </a:cubicBezTo>
                  <a:cubicBezTo>
                    <a:pt x="244" y="109"/>
                    <a:pt x="247" y="102"/>
                    <a:pt x="252" y="105"/>
                  </a:cubicBezTo>
                  <a:cubicBezTo>
                    <a:pt x="256" y="107"/>
                    <a:pt x="260" y="113"/>
                    <a:pt x="260" y="117"/>
                  </a:cubicBezTo>
                  <a:cubicBezTo>
                    <a:pt x="260" y="120"/>
                    <a:pt x="245" y="140"/>
                    <a:pt x="246" y="144"/>
                  </a:cubicBezTo>
                  <a:cubicBezTo>
                    <a:pt x="248" y="148"/>
                    <a:pt x="257" y="155"/>
                    <a:pt x="257" y="158"/>
                  </a:cubicBezTo>
                  <a:cubicBezTo>
                    <a:pt x="257" y="160"/>
                    <a:pt x="253" y="169"/>
                    <a:pt x="250" y="175"/>
                  </a:cubicBezTo>
                  <a:cubicBezTo>
                    <a:pt x="249" y="177"/>
                    <a:pt x="248" y="179"/>
                    <a:pt x="248" y="180"/>
                  </a:cubicBezTo>
                  <a:cubicBezTo>
                    <a:pt x="248" y="183"/>
                    <a:pt x="252" y="191"/>
                    <a:pt x="257" y="192"/>
                  </a:cubicBezTo>
                  <a:cubicBezTo>
                    <a:pt x="261" y="193"/>
                    <a:pt x="268" y="193"/>
                    <a:pt x="272" y="194"/>
                  </a:cubicBezTo>
                  <a:cubicBezTo>
                    <a:pt x="275" y="194"/>
                    <a:pt x="273" y="204"/>
                    <a:pt x="277" y="205"/>
                  </a:cubicBezTo>
                  <a:cubicBezTo>
                    <a:pt x="281" y="205"/>
                    <a:pt x="300" y="204"/>
                    <a:pt x="304" y="206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43" name="Freeform 212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1745439" y="3031101"/>
              <a:ext cx="1356403" cy="962872"/>
            </a:xfrm>
            <a:custGeom>
              <a:avLst/>
              <a:gdLst>
                <a:gd name="T0" fmla="*/ 425 w 432"/>
                <a:gd name="T1" fmla="*/ 145 h 306"/>
                <a:gd name="T2" fmla="*/ 427 w 432"/>
                <a:gd name="T3" fmla="*/ 165 h 306"/>
                <a:gd name="T4" fmla="*/ 416 w 432"/>
                <a:gd name="T5" fmla="*/ 179 h 306"/>
                <a:gd name="T6" fmla="*/ 400 w 432"/>
                <a:gd name="T7" fmla="*/ 183 h 306"/>
                <a:gd name="T8" fmla="*/ 404 w 432"/>
                <a:gd name="T9" fmla="*/ 198 h 306"/>
                <a:gd name="T10" fmla="*/ 389 w 432"/>
                <a:gd name="T11" fmla="*/ 200 h 306"/>
                <a:gd name="T12" fmla="*/ 388 w 432"/>
                <a:gd name="T13" fmla="*/ 214 h 306"/>
                <a:gd name="T14" fmla="*/ 381 w 432"/>
                <a:gd name="T15" fmla="*/ 220 h 306"/>
                <a:gd name="T16" fmla="*/ 363 w 432"/>
                <a:gd name="T17" fmla="*/ 209 h 306"/>
                <a:gd name="T18" fmla="*/ 355 w 432"/>
                <a:gd name="T19" fmla="*/ 215 h 306"/>
                <a:gd name="T20" fmla="*/ 354 w 432"/>
                <a:gd name="T21" fmla="*/ 224 h 306"/>
                <a:gd name="T22" fmla="*/ 366 w 432"/>
                <a:gd name="T23" fmla="*/ 234 h 306"/>
                <a:gd name="T24" fmla="*/ 383 w 432"/>
                <a:gd name="T25" fmla="*/ 239 h 306"/>
                <a:gd name="T26" fmla="*/ 385 w 432"/>
                <a:gd name="T27" fmla="*/ 253 h 306"/>
                <a:gd name="T28" fmla="*/ 386 w 432"/>
                <a:gd name="T29" fmla="*/ 271 h 306"/>
                <a:gd name="T30" fmla="*/ 381 w 432"/>
                <a:gd name="T31" fmla="*/ 273 h 306"/>
                <a:gd name="T32" fmla="*/ 365 w 432"/>
                <a:gd name="T33" fmla="*/ 266 h 306"/>
                <a:gd name="T34" fmla="*/ 359 w 432"/>
                <a:gd name="T35" fmla="*/ 284 h 306"/>
                <a:gd name="T36" fmla="*/ 338 w 432"/>
                <a:gd name="T37" fmla="*/ 285 h 306"/>
                <a:gd name="T38" fmla="*/ 324 w 432"/>
                <a:gd name="T39" fmla="*/ 272 h 306"/>
                <a:gd name="T40" fmla="*/ 309 w 432"/>
                <a:gd name="T41" fmla="*/ 275 h 306"/>
                <a:gd name="T42" fmla="*/ 294 w 432"/>
                <a:gd name="T43" fmla="*/ 260 h 306"/>
                <a:gd name="T44" fmla="*/ 289 w 432"/>
                <a:gd name="T45" fmla="*/ 240 h 306"/>
                <a:gd name="T46" fmla="*/ 273 w 432"/>
                <a:gd name="T47" fmla="*/ 223 h 306"/>
                <a:gd name="T48" fmla="*/ 254 w 432"/>
                <a:gd name="T49" fmla="*/ 223 h 306"/>
                <a:gd name="T50" fmla="*/ 252 w 432"/>
                <a:gd name="T51" fmla="*/ 231 h 306"/>
                <a:gd name="T52" fmla="*/ 257 w 432"/>
                <a:gd name="T53" fmla="*/ 240 h 306"/>
                <a:gd name="T54" fmla="*/ 243 w 432"/>
                <a:gd name="T55" fmla="*/ 266 h 306"/>
                <a:gd name="T56" fmla="*/ 227 w 432"/>
                <a:gd name="T57" fmla="*/ 266 h 306"/>
                <a:gd name="T58" fmla="*/ 222 w 432"/>
                <a:gd name="T59" fmla="*/ 289 h 306"/>
                <a:gd name="T60" fmla="*/ 203 w 432"/>
                <a:gd name="T61" fmla="*/ 305 h 306"/>
                <a:gd name="T62" fmla="*/ 174 w 432"/>
                <a:gd name="T63" fmla="*/ 296 h 306"/>
                <a:gd name="T64" fmla="*/ 168 w 432"/>
                <a:gd name="T65" fmla="*/ 275 h 306"/>
                <a:gd name="T66" fmla="*/ 130 w 432"/>
                <a:gd name="T67" fmla="*/ 259 h 306"/>
                <a:gd name="T68" fmla="*/ 80 w 432"/>
                <a:gd name="T69" fmla="*/ 246 h 306"/>
                <a:gd name="T70" fmla="*/ 45 w 432"/>
                <a:gd name="T71" fmla="*/ 222 h 306"/>
                <a:gd name="T72" fmla="*/ 22 w 432"/>
                <a:gd name="T73" fmla="*/ 219 h 306"/>
                <a:gd name="T74" fmla="*/ 1 w 432"/>
                <a:gd name="T75" fmla="*/ 158 h 306"/>
                <a:gd name="T76" fmla="*/ 19 w 432"/>
                <a:gd name="T77" fmla="*/ 151 h 306"/>
                <a:gd name="T78" fmla="*/ 23 w 432"/>
                <a:gd name="T79" fmla="*/ 123 h 306"/>
                <a:gd name="T80" fmla="*/ 25 w 432"/>
                <a:gd name="T81" fmla="*/ 93 h 306"/>
                <a:gd name="T82" fmla="*/ 33 w 432"/>
                <a:gd name="T83" fmla="*/ 95 h 306"/>
                <a:gd name="T84" fmla="*/ 48 w 432"/>
                <a:gd name="T85" fmla="*/ 104 h 306"/>
                <a:gd name="T86" fmla="*/ 66 w 432"/>
                <a:gd name="T87" fmla="*/ 97 h 306"/>
                <a:gd name="T88" fmla="*/ 70 w 432"/>
                <a:gd name="T89" fmla="*/ 74 h 306"/>
                <a:gd name="T90" fmla="*/ 79 w 432"/>
                <a:gd name="T91" fmla="*/ 58 h 306"/>
                <a:gd name="T92" fmla="*/ 53 w 432"/>
                <a:gd name="T93" fmla="*/ 36 h 306"/>
                <a:gd name="T94" fmla="*/ 54 w 432"/>
                <a:gd name="T95" fmla="*/ 15 h 306"/>
                <a:gd name="T96" fmla="*/ 76 w 432"/>
                <a:gd name="T97" fmla="*/ 8 h 306"/>
                <a:gd name="T98" fmla="*/ 168 w 432"/>
                <a:gd name="T99" fmla="*/ 1 h 306"/>
                <a:gd name="T100" fmla="*/ 208 w 432"/>
                <a:gd name="T101" fmla="*/ 12 h 306"/>
                <a:gd name="T102" fmla="*/ 234 w 432"/>
                <a:gd name="T103" fmla="*/ 34 h 306"/>
                <a:gd name="T104" fmla="*/ 262 w 432"/>
                <a:gd name="T105" fmla="*/ 24 h 306"/>
                <a:gd name="T106" fmla="*/ 285 w 432"/>
                <a:gd name="T107" fmla="*/ 27 h 306"/>
                <a:gd name="T108" fmla="*/ 304 w 432"/>
                <a:gd name="T109" fmla="*/ 29 h 306"/>
                <a:gd name="T110" fmla="*/ 326 w 432"/>
                <a:gd name="T111" fmla="*/ 43 h 306"/>
                <a:gd name="T112" fmla="*/ 346 w 432"/>
                <a:gd name="T113" fmla="*/ 39 h 306"/>
                <a:gd name="T114" fmla="*/ 351 w 432"/>
                <a:gd name="T115" fmla="*/ 61 h 306"/>
                <a:gd name="T116" fmla="*/ 372 w 432"/>
                <a:gd name="T117" fmla="*/ 76 h 306"/>
                <a:gd name="T118" fmla="*/ 385 w 432"/>
                <a:gd name="T119" fmla="*/ 92 h 306"/>
                <a:gd name="T120" fmla="*/ 400 w 432"/>
                <a:gd name="T121" fmla="*/ 87 h 306"/>
                <a:gd name="T122" fmla="*/ 414 w 432"/>
                <a:gd name="T123" fmla="*/ 116 h 306"/>
                <a:gd name="T124" fmla="*/ 425 w 432"/>
                <a:gd name="T125" fmla="*/ 145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2" h="306">
                  <a:moveTo>
                    <a:pt x="425" y="145"/>
                  </a:moveTo>
                  <a:cubicBezTo>
                    <a:pt x="429" y="150"/>
                    <a:pt x="432" y="155"/>
                    <a:pt x="427" y="165"/>
                  </a:cubicBezTo>
                  <a:cubicBezTo>
                    <a:pt x="422" y="174"/>
                    <a:pt x="422" y="179"/>
                    <a:pt x="416" y="179"/>
                  </a:cubicBezTo>
                  <a:cubicBezTo>
                    <a:pt x="410" y="179"/>
                    <a:pt x="405" y="177"/>
                    <a:pt x="400" y="183"/>
                  </a:cubicBezTo>
                  <a:cubicBezTo>
                    <a:pt x="396" y="188"/>
                    <a:pt x="409" y="196"/>
                    <a:pt x="404" y="198"/>
                  </a:cubicBezTo>
                  <a:cubicBezTo>
                    <a:pt x="399" y="200"/>
                    <a:pt x="392" y="196"/>
                    <a:pt x="389" y="200"/>
                  </a:cubicBezTo>
                  <a:cubicBezTo>
                    <a:pt x="387" y="203"/>
                    <a:pt x="388" y="211"/>
                    <a:pt x="388" y="214"/>
                  </a:cubicBezTo>
                  <a:cubicBezTo>
                    <a:pt x="388" y="218"/>
                    <a:pt x="384" y="223"/>
                    <a:pt x="381" y="220"/>
                  </a:cubicBezTo>
                  <a:cubicBezTo>
                    <a:pt x="377" y="218"/>
                    <a:pt x="364" y="213"/>
                    <a:pt x="363" y="209"/>
                  </a:cubicBezTo>
                  <a:cubicBezTo>
                    <a:pt x="363" y="205"/>
                    <a:pt x="358" y="213"/>
                    <a:pt x="355" y="215"/>
                  </a:cubicBezTo>
                  <a:cubicBezTo>
                    <a:pt x="351" y="218"/>
                    <a:pt x="354" y="220"/>
                    <a:pt x="354" y="224"/>
                  </a:cubicBezTo>
                  <a:cubicBezTo>
                    <a:pt x="354" y="227"/>
                    <a:pt x="361" y="234"/>
                    <a:pt x="366" y="234"/>
                  </a:cubicBezTo>
                  <a:cubicBezTo>
                    <a:pt x="371" y="234"/>
                    <a:pt x="381" y="235"/>
                    <a:pt x="383" y="239"/>
                  </a:cubicBezTo>
                  <a:cubicBezTo>
                    <a:pt x="386" y="244"/>
                    <a:pt x="385" y="253"/>
                    <a:pt x="385" y="253"/>
                  </a:cubicBezTo>
                  <a:cubicBezTo>
                    <a:pt x="386" y="271"/>
                    <a:pt x="386" y="271"/>
                    <a:pt x="386" y="271"/>
                  </a:cubicBezTo>
                  <a:cubicBezTo>
                    <a:pt x="384" y="273"/>
                    <a:pt x="381" y="273"/>
                    <a:pt x="381" y="273"/>
                  </a:cubicBezTo>
                  <a:cubicBezTo>
                    <a:pt x="378" y="273"/>
                    <a:pt x="369" y="264"/>
                    <a:pt x="365" y="266"/>
                  </a:cubicBezTo>
                  <a:cubicBezTo>
                    <a:pt x="353" y="270"/>
                    <a:pt x="362" y="282"/>
                    <a:pt x="359" y="284"/>
                  </a:cubicBezTo>
                  <a:cubicBezTo>
                    <a:pt x="354" y="287"/>
                    <a:pt x="345" y="288"/>
                    <a:pt x="338" y="285"/>
                  </a:cubicBezTo>
                  <a:cubicBezTo>
                    <a:pt x="331" y="282"/>
                    <a:pt x="328" y="272"/>
                    <a:pt x="324" y="272"/>
                  </a:cubicBezTo>
                  <a:cubicBezTo>
                    <a:pt x="320" y="272"/>
                    <a:pt x="315" y="281"/>
                    <a:pt x="309" y="275"/>
                  </a:cubicBezTo>
                  <a:cubicBezTo>
                    <a:pt x="303" y="269"/>
                    <a:pt x="299" y="266"/>
                    <a:pt x="294" y="260"/>
                  </a:cubicBezTo>
                  <a:cubicBezTo>
                    <a:pt x="289" y="253"/>
                    <a:pt x="291" y="246"/>
                    <a:pt x="289" y="240"/>
                  </a:cubicBezTo>
                  <a:cubicBezTo>
                    <a:pt x="286" y="234"/>
                    <a:pt x="280" y="225"/>
                    <a:pt x="273" y="223"/>
                  </a:cubicBezTo>
                  <a:cubicBezTo>
                    <a:pt x="267" y="220"/>
                    <a:pt x="259" y="221"/>
                    <a:pt x="254" y="223"/>
                  </a:cubicBezTo>
                  <a:cubicBezTo>
                    <a:pt x="250" y="226"/>
                    <a:pt x="249" y="229"/>
                    <a:pt x="252" y="231"/>
                  </a:cubicBezTo>
                  <a:cubicBezTo>
                    <a:pt x="254" y="233"/>
                    <a:pt x="257" y="236"/>
                    <a:pt x="257" y="240"/>
                  </a:cubicBezTo>
                  <a:cubicBezTo>
                    <a:pt x="257" y="243"/>
                    <a:pt x="247" y="257"/>
                    <a:pt x="243" y="266"/>
                  </a:cubicBezTo>
                  <a:cubicBezTo>
                    <a:pt x="227" y="266"/>
                    <a:pt x="227" y="266"/>
                    <a:pt x="227" y="266"/>
                  </a:cubicBezTo>
                  <a:cubicBezTo>
                    <a:pt x="223" y="266"/>
                    <a:pt x="226" y="283"/>
                    <a:pt x="222" y="289"/>
                  </a:cubicBezTo>
                  <a:cubicBezTo>
                    <a:pt x="218" y="294"/>
                    <a:pt x="210" y="306"/>
                    <a:pt x="203" y="305"/>
                  </a:cubicBezTo>
                  <a:cubicBezTo>
                    <a:pt x="196" y="304"/>
                    <a:pt x="180" y="299"/>
                    <a:pt x="174" y="296"/>
                  </a:cubicBezTo>
                  <a:cubicBezTo>
                    <a:pt x="168" y="292"/>
                    <a:pt x="175" y="281"/>
                    <a:pt x="168" y="275"/>
                  </a:cubicBezTo>
                  <a:cubicBezTo>
                    <a:pt x="160" y="269"/>
                    <a:pt x="144" y="260"/>
                    <a:pt x="130" y="259"/>
                  </a:cubicBezTo>
                  <a:cubicBezTo>
                    <a:pt x="116" y="258"/>
                    <a:pt x="88" y="250"/>
                    <a:pt x="80" y="246"/>
                  </a:cubicBezTo>
                  <a:cubicBezTo>
                    <a:pt x="72" y="243"/>
                    <a:pt x="50" y="224"/>
                    <a:pt x="45" y="222"/>
                  </a:cubicBezTo>
                  <a:cubicBezTo>
                    <a:pt x="40" y="220"/>
                    <a:pt x="26" y="219"/>
                    <a:pt x="22" y="219"/>
                  </a:cubicBezTo>
                  <a:cubicBezTo>
                    <a:pt x="18" y="219"/>
                    <a:pt x="0" y="166"/>
                    <a:pt x="1" y="158"/>
                  </a:cubicBezTo>
                  <a:cubicBezTo>
                    <a:pt x="2" y="149"/>
                    <a:pt x="18" y="156"/>
                    <a:pt x="19" y="151"/>
                  </a:cubicBezTo>
                  <a:cubicBezTo>
                    <a:pt x="20" y="146"/>
                    <a:pt x="21" y="129"/>
                    <a:pt x="23" y="123"/>
                  </a:cubicBezTo>
                  <a:cubicBezTo>
                    <a:pt x="25" y="93"/>
                    <a:pt x="25" y="93"/>
                    <a:pt x="25" y="93"/>
                  </a:cubicBezTo>
                  <a:cubicBezTo>
                    <a:pt x="29" y="94"/>
                    <a:pt x="32" y="94"/>
                    <a:pt x="33" y="95"/>
                  </a:cubicBezTo>
                  <a:cubicBezTo>
                    <a:pt x="36" y="97"/>
                    <a:pt x="42" y="105"/>
                    <a:pt x="48" y="104"/>
                  </a:cubicBezTo>
                  <a:cubicBezTo>
                    <a:pt x="55" y="104"/>
                    <a:pt x="66" y="102"/>
                    <a:pt x="66" y="97"/>
                  </a:cubicBezTo>
                  <a:cubicBezTo>
                    <a:pt x="66" y="92"/>
                    <a:pt x="66" y="79"/>
                    <a:pt x="70" y="74"/>
                  </a:cubicBezTo>
                  <a:cubicBezTo>
                    <a:pt x="74" y="68"/>
                    <a:pt x="79" y="63"/>
                    <a:pt x="79" y="58"/>
                  </a:cubicBezTo>
                  <a:cubicBezTo>
                    <a:pt x="79" y="53"/>
                    <a:pt x="54" y="39"/>
                    <a:pt x="53" y="36"/>
                  </a:cubicBezTo>
                  <a:cubicBezTo>
                    <a:pt x="51" y="32"/>
                    <a:pt x="53" y="21"/>
                    <a:pt x="54" y="15"/>
                  </a:cubicBezTo>
                  <a:cubicBezTo>
                    <a:pt x="56" y="9"/>
                    <a:pt x="70" y="9"/>
                    <a:pt x="76" y="8"/>
                  </a:cubicBezTo>
                  <a:cubicBezTo>
                    <a:pt x="82" y="8"/>
                    <a:pt x="161" y="0"/>
                    <a:pt x="168" y="1"/>
                  </a:cubicBezTo>
                  <a:cubicBezTo>
                    <a:pt x="175" y="2"/>
                    <a:pt x="199" y="7"/>
                    <a:pt x="208" y="12"/>
                  </a:cubicBezTo>
                  <a:cubicBezTo>
                    <a:pt x="217" y="17"/>
                    <a:pt x="226" y="34"/>
                    <a:pt x="234" y="34"/>
                  </a:cubicBezTo>
                  <a:cubicBezTo>
                    <a:pt x="242" y="34"/>
                    <a:pt x="257" y="23"/>
                    <a:pt x="262" y="24"/>
                  </a:cubicBezTo>
                  <a:cubicBezTo>
                    <a:pt x="267" y="25"/>
                    <a:pt x="281" y="28"/>
                    <a:pt x="285" y="27"/>
                  </a:cubicBezTo>
                  <a:cubicBezTo>
                    <a:pt x="290" y="26"/>
                    <a:pt x="298" y="25"/>
                    <a:pt x="304" y="29"/>
                  </a:cubicBezTo>
                  <a:cubicBezTo>
                    <a:pt x="310" y="33"/>
                    <a:pt x="323" y="41"/>
                    <a:pt x="326" y="43"/>
                  </a:cubicBezTo>
                  <a:cubicBezTo>
                    <a:pt x="328" y="44"/>
                    <a:pt x="339" y="33"/>
                    <a:pt x="346" y="39"/>
                  </a:cubicBezTo>
                  <a:cubicBezTo>
                    <a:pt x="353" y="45"/>
                    <a:pt x="349" y="56"/>
                    <a:pt x="351" y="61"/>
                  </a:cubicBezTo>
                  <a:cubicBezTo>
                    <a:pt x="354" y="66"/>
                    <a:pt x="368" y="70"/>
                    <a:pt x="372" y="76"/>
                  </a:cubicBezTo>
                  <a:cubicBezTo>
                    <a:pt x="376" y="82"/>
                    <a:pt x="381" y="89"/>
                    <a:pt x="385" y="92"/>
                  </a:cubicBezTo>
                  <a:cubicBezTo>
                    <a:pt x="389" y="94"/>
                    <a:pt x="396" y="85"/>
                    <a:pt x="400" y="87"/>
                  </a:cubicBezTo>
                  <a:cubicBezTo>
                    <a:pt x="405" y="90"/>
                    <a:pt x="414" y="108"/>
                    <a:pt x="414" y="116"/>
                  </a:cubicBezTo>
                  <a:cubicBezTo>
                    <a:pt x="414" y="123"/>
                    <a:pt x="421" y="140"/>
                    <a:pt x="425" y="145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44" name="Freeform 213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26928" y="3202372"/>
              <a:ext cx="2007476" cy="1232309"/>
            </a:xfrm>
            <a:custGeom>
              <a:avLst/>
              <a:gdLst>
                <a:gd name="T0" fmla="*/ 629 w 640"/>
                <a:gd name="T1" fmla="*/ 283 h 392"/>
                <a:gd name="T2" fmla="*/ 637 w 640"/>
                <a:gd name="T3" fmla="*/ 362 h 392"/>
                <a:gd name="T4" fmla="*/ 616 w 640"/>
                <a:gd name="T5" fmla="*/ 378 h 392"/>
                <a:gd name="T6" fmla="*/ 600 w 640"/>
                <a:gd name="T7" fmla="*/ 392 h 392"/>
                <a:gd name="T8" fmla="*/ 576 w 640"/>
                <a:gd name="T9" fmla="*/ 385 h 392"/>
                <a:gd name="T10" fmla="*/ 550 w 640"/>
                <a:gd name="T11" fmla="*/ 354 h 392"/>
                <a:gd name="T12" fmla="*/ 513 w 640"/>
                <a:gd name="T13" fmla="*/ 343 h 392"/>
                <a:gd name="T14" fmla="*/ 466 w 640"/>
                <a:gd name="T15" fmla="*/ 348 h 392"/>
                <a:gd name="T16" fmla="*/ 414 w 640"/>
                <a:gd name="T17" fmla="*/ 377 h 392"/>
                <a:gd name="T18" fmla="*/ 385 w 640"/>
                <a:gd name="T19" fmla="*/ 369 h 392"/>
                <a:gd name="T20" fmla="*/ 343 w 640"/>
                <a:gd name="T21" fmla="*/ 347 h 392"/>
                <a:gd name="T22" fmla="*/ 315 w 640"/>
                <a:gd name="T23" fmla="*/ 351 h 392"/>
                <a:gd name="T24" fmla="*/ 288 w 640"/>
                <a:gd name="T25" fmla="*/ 374 h 392"/>
                <a:gd name="T26" fmla="*/ 270 w 640"/>
                <a:gd name="T27" fmla="*/ 346 h 392"/>
                <a:gd name="T28" fmla="*/ 222 w 640"/>
                <a:gd name="T29" fmla="*/ 329 h 392"/>
                <a:gd name="T30" fmla="*/ 179 w 640"/>
                <a:gd name="T31" fmla="*/ 308 h 392"/>
                <a:gd name="T32" fmla="*/ 154 w 640"/>
                <a:gd name="T33" fmla="*/ 285 h 392"/>
                <a:gd name="T34" fmla="*/ 146 w 640"/>
                <a:gd name="T35" fmla="*/ 261 h 392"/>
                <a:gd name="T36" fmla="*/ 123 w 640"/>
                <a:gd name="T37" fmla="*/ 249 h 392"/>
                <a:gd name="T38" fmla="*/ 80 w 640"/>
                <a:gd name="T39" fmla="*/ 199 h 392"/>
                <a:gd name="T40" fmla="*/ 58 w 640"/>
                <a:gd name="T41" fmla="*/ 196 h 392"/>
                <a:gd name="T42" fmla="*/ 15 w 640"/>
                <a:gd name="T43" fmla="*/ 137 h 392"/>
                <a:gd name="T44" fmla="*/ 3 w 640"/>
                <a:gd name="T45" fmla="*/ 122 h 392"/>
                <a:gd name="T46" fmla="*/ 11 w 640"/>
                <a:gd name="T47" fmla="*/ 84 h 392"/>
                <a:gd name="T48" fmla="*/ 43 w 640"/>
                <a:gd name="T49" fmla="*/ 94 h 392"/>
                <a:gd name="T50" fmla="*/ 38 w 640"/>
                <a:gd name="T51" fmla="*/ 41 h 392"/>
                <a:gd name="T52" fmla="*/ 77 w 640"/>
                <a:gd name="T53" fmla="*/ 25 h 392"/>
                <a:gd name="T54" fmla="*/ 107 w 640"/>
                <a:gd name="T55" fmla="*/ 2 h 392"/>
                <a:gd name="T56" fmla="*/ 137 w 640"/>
                <a:gd name="T57" fmla="*/ 20 h 392"/>
                <a:gd name="T58" fmla="*/ 161 w 640"/>
                <a:gd name="T59" fmla="*/ 8 h 392"/>
                <a:gd name="T60" fmla="*/ 200 w 640"/>
                <a:gd name="T61" fmla="*/ 30 h 392"/>
                <a:gd name="T62" fmla="*/ 266 w 640"/>
                <a:gd name="T63" fmla="*/ 27 h 392"/>
                <a:gd name="T64" fmla="*/ 321 w 640"/>
                <a:gd name="T65" fmla="*/ 15 h 392"/>
                <a:gd name="T66" fmla="*/ 382 w 640"/>
                <a:gd name="T67" fmla="*/ 39 h 392"/>
                <a:gd name="T68" fmla="*/ 376 w 640"/>
                <a:gd name="T69" fmla="*/ 97 h 392"/>
                <a:gd name="T70" fmla="*/ 379 w 640"/>
                <a:gd name="T71" fmla="*/ 165 h 392"/>
                <a:gd name="T72" fmla="*/ 437 w 640"/>
                <a:gd name="T73" fmla="*/ 192 h 392"/>
                <a:gd name="T74" fmla="*/ 525 w 640"/>
                <a:gd name="T75" fmla="*/ 221 h 392"/>
                <a:gd name="T76" fmla="*/ 560 w 640"/>
                <a:gd name="T77" fmla="*/ 251 h 392"/>
                <a:gd name="T78" fmla="*/ 584 w 640"/>
                <a:gd name="T79" fmla="*/ 212 h 392"/>
                <a:gd name="T80" fmla="*/ 600 w 640"/>
                <a:gd name="T81" fmla="*/ 219 h 392"/>
                <a:gd name="T82" fmla="*/ 639 w 640"/>
                <a:gd name="T83" fmla="*/ 27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0" h="392">
                  <a:moveTo>
                    <a:pt x="639" y="271"/>
                  </a:moveTo>
                  <a:cubicBezTo>
                    <a:pt x="640" y="274"/>
                    <a:pt x="628" y="277"/>
                    <a:pt x="629" y="283"/>
                  </a:cubicBezTo>
                  <a:cubicBezTo>
                    <a:pt x="629" y="290"/>
                    <a:pt x="639" y="299"/>
                    <a:pt x="638" y="321"/>
                  </a:cubicBezTo>
                  <a:cubicBezTo>
                    <a:pt x="637" y="336"/>
                    <a:pt x="637" y="352"/>
                    <a:pt x="637" y="362"/>
                  </a:cubicBezTo>
                  <a:cubicBezTo>
                    <a:pt x="637" y="362"/>
                    <a:pt x="622" y="362"/>
                    <a:pt x="618" y="363"/>
                  </a:cubicBezTo>
                  <a:cubicBezTo>
                    <a:pt x="614" y="364"/>
                    <a:pt x="616" y="372"/>
                    <a:pt x="616" y="378"/>
                  </a:cubicBezTo>
                  <a:cubicBezTo>
                    <a:pt x="615" y="384"/>
                    <a:pt x="613" y="388"/>
                    <a:pt x="609" y="389"/>
                  </a:cubicBezTo>
                  <a:cubicBezTo>
                    <a:pt x="600" y="392"/>
                    <a:pt x="600" y="392"/>
                    <a:pt x="600" y="392"/>
                  </a:cubicBezTo>
                  <a:cubicBezTo>
                    <a:pt x="596" y="383"/>
                    <a:pt x="589" y="374"/>
                    <a:pt x="585" y="372"/>
                  </a:cubicBezTo>
                  <a:cubicBezTo>
                    <a:pt x="579" y="369"/>
                    <a:pt x="583" y="385"/>
                    <a:pt x="576" y="385"/>
                  </a:cubicBezTo>
                  <a:cubicBezTo>
                    <a:pt x="569" y="385"/>
                    <a:pt x="547" y="374"/>
                    <a:pt x="541" y="373"/>
                  </a:cubicBezTo>
                  <a:cubicBezTo>
                    <a:pt x="535" y="372"/>
                    <a:pt x="552" y="363"/>
                    <a:pt x="550" y="354"/>
                  </a:cubicBezTo>
                  <a:cubicBezTo>
                    <a:pt x="548" y="345"/>
                    <a:pt x="542" y="333"/>
                    <a:pt x="536" y="333"/>
                  </a:cubicBezTo>
                  <a:cubicBezTo>
                    <a:pt x="530" y="333"/>
                    <a:pt x="522" y="339"/>
                    <a:pt x="513" y="343"/>
                  </a:cubicBezTo>
                  <a:cubicBezTo>
                    <a:pt x="504" y="347"/>
                    <a:pt x="496" y="332"/>
                    <a:pt x="489" y="332"/>
                  </a:cubicBezTo>
                  <a:cubicBezTo>
                    <a:pt x="482" y="332"/>
                    <a:pt x="471" y="343"/>
                    <a:pt x="466" y="348"/>
                  </a:cubicBezTo>
                  <a:cubicBezTo>
                    <a:pt x="461" y="353"/>
                    <a:pt x="446" y="351"/>
                    <a:pt x="440" y="356"/>
                  </a:cubicBezTo>
                  <a:cubicBezTo>
                    <a:pt x="434" y="361"/>
                    <a:pt x="419" y="374"/>
                    <a:pt x="414" y="377"/>
                  </a:cubicBezTo>
                  <a:cubicBezTo>
                    <a:pt x="409" y="380"/>
                    <a:pt x="388" y="380"/>
                    <a:pt x="383" y="380"/>
                  </a:cubicBezTo>
                  <a:cubicBezTo>
                    <a:pt x="378" y="380"/>
                    <a:pt x="388" y="373"/>
                    <a:pt x="385" y="369"/>
                  </a:cubicBezTo>
                  <a:cubicBezTo>
                    <a:pt x="382" y="365"/>
                    <a:pt x="375" y="365"/>
                    <a:pt x="372" y="362"/>
                  </a:cubicBezTo>
                  <a:cubicBezTo>
                    <a:pt x="369" y="359"/>
                    <a:pt x="347" y="351"/>
                    <a:pt x="343" y="347"/>
                  </a:cubicBezTo>
                  <a:cubicBezTo>
                    <a:pt x="339" y="343"/>
                    <a:pt x="336" y="344"/>
                    <a:pt x="333" y="344"/>
                  </a:cubicBezTo>
                  <a:cubicBezTo>
                    <a:pt x="330" y="344"/>
                    <a:pt x="320" y="348"/>
                    <a:pt x="315" y="351"/>
                  </a:cubicBezTo>
                  <a:cubicBezTo>
                    <a:pt x="310" y="354"/>
                    <a:pt x="302" y="368"/>
                    <a:pt x="296" y="373"/>
                  </a:cubicBezTo>
                  <a:cubicBezTo>
                    <a:pt x="290" y="378"/>
                    <a:pt x="295" y="374"/>
                    <a:pt x="288" y="374"/>
                  </a:cubicBezTo>
                  <a:cubicBezTo>
                    <a:pt x="281" y="374"/>
                    <a:pt x="293" y="344"/>
                    <a:pt x="293" y="344"/>
                  </a:cubicBezTo>
                  <a:cubicBezTo>
                    <a:pt x="293" y="344"/>
                    <a:pt x="277" y="344"/>
                    <a:pt x="270" y="346"/>
                  </a:cubicBezTo>
                  <a:cubicBezTo>
                    <a:pt x="263" y="348"/>
                    <a:pt x="245" y="343"/>
                    <a:pt x="237" y="340"/>
                  </a:cubicBezTo>
                  <a:cubicBezTo>
                    <a:pt x="229" y="337"/>
                    <a:pt x="227" y="333"/>
                    <a:pt x="222" y="329"/>
                  </a:cubicBezTo>
                  <a:cubicBezTo>
                    <a:pt x="217" y="325"/>
                    <a:pt x="210" y="333"/>
                    <a:pt x="201" y="329"/>
                  </a:cubicBezTo>
                  <a:cubicBezTo>
                    <a:pt x="192" y="325"/>
                    <a:pt x="183" y="312"/>
                    <a:pt x="179" y="308"/>
                  </a:cubicBezTo>
                  <a:cubicBezTo>
                    <a:pt x="175" y="304"/>
                    <a:pt x="174" y="295"/>
                    <a:pt x="167" y="295"/>
                  </a:cubicBezTo>
                  <a:cubicBezTo>
                    <a:pt x="160" y="295"/>
                    <a:pt x="159" y="291"/>
                    <a:pt x="154" y="285"/>
                  </a:cubicBezTo>
                  <a:cubicBezTo>
                    <a:pt x="149" y="279"/>
                    <a:pt x="152" y="276"/>
                    <a:pt x="152" y="271"/>
                  </a:cubicBezTo>
                  <a:cubicBezTo>
                    <a:pt x="152" y="266"/>
                    <a:pt x="151" y="266"/>
                    <a:pt x="146" y="261"/>
                  </a:cubicBezTo>
                  <a:cubicBezTo>
                    <a:pt x="141" y="256"/>
                    <a:pt x="135" y="266"/>
                    <a:pt x="131" y="266"/>
                  </a:cubicBezTo>
                  <a:cubicBezTo>
                    <a:pt x="127" y="266"/>
                    <a:pt x="125" y="255"/>
                    <a:pt x="123" y="249"/>
                  </a:cubicBezTo>
                  <a:cubicBezTo>
                    <a:pt x="121" y="243"/>
                    <a:pt x="102" y="218"/>
                    <a:pt x="98" y="211"/>
                  </a:cubicBezTo>
                  <a:cubicBezTo>
                    <a:pt x="94" y="204"/>
                    <a:pt x="89" y="199"/>
                    <a:pt x="80" y="199"/>
                  </a:cubicBezTo>
                  <a:cubicBezTo>
                    <a:pt x="71" y="199"/>
                    <a:pt x="69" y="213"/>
                    <a:pt x="68" y="210"/>
                  </a:cubicBezTo>
                  <a:cubicBezTo>
                    <a:pt x="67" y="207"/>
                    <a:pt x="64" y="201"/>
                    <a:pt x="58" y="196"/>
                  </a:cubicBezTo>
                  <a:cubicBezTo>
                    <a:pt x="52" y="191"/>
                    <a:pt x="36" y="169"/>
                    <a:pt x="31" y="161"/>
                  </a:cubicBezTo>
                  <a:cubicBezTo>
                    <a:pt x="26" y="153"/>
                    <a:pt x="15" y="143"/>
                    <a:pt x="15" y="137"/>
                  </a:cubicBezTo>
                  <a:cubicBezTo>
                    <a:pt x="15" y="131"/>
                    <a:pt x="8" y="139"/>
                    <a:pt x="5" y="139"/>
                  </a:cubicBezTo>
                  <a:cubicBezTo>
                    <a:pt x="2" y="139"/>
                    <a:pt x="2" y="134"/>
                    <a:pt x="3" y="122"/>
                  </a:cubicBezTo>
                  <a:cubicBezTo>
                    <a:pt x="4" y="110"/>
                    <a:pt x="0" y="98"/>
                    <a:pt x="0" y="91"/>
                  </a:cubicBezTo>
                  <a:cubicBezTo>
                    <a:pt x="0" y="84"/>
                    <a:pt x="3" y="85"/>
                    <a:pt x="11" y="84"/>
                  </a:cubicBezTo>
                  <a:cubicBezTo>
                    <a:pt x="19" y="83"/>
                    <a:pt x="16" y="93"/>
                    <a:pt x="21" y="99"/>
                  </a:cubicBezTo>
                  <a:cubicBezTo>
                    <a:pt x="26" y="105"/>
                    <a:pt x="37" y="99"/>
                    <a:pt x="43" y="94"/>
                  </a:cubicBezTo>
                  <a:cubicBezTo>
                    <a:pt x="49" y="89"/>
                    <a:pt x="37" y="72"/>
                    <a:pt x="34" y="60"/>
                  </a:cubicBezTo>
                  <a:cubicBezTo>
                    <a:pt x="31" y="48"/>
                    <a:pt x="30" y="45"/>
                    <a:pt x="38" y="41"/>
                  </a:cubicBezTo>
                  <a:cubicBezTo>
                    <a:pt x="46" y="37"/>
                    <a:pt x="54" y="43"/>
                    <a:pt x="58" y="36"/>
                  </a:cubicBezTo>
                  <a:cubicBezTo>
                    <a:pt x="62" y="29"/>
                    <a:pt x="70" y="25"/>
                    <a:pt x="77" y="25"/>
                  </a:cubicBezTo>
                  <a:cubicBezTo>
                    <a:pt x="84" y="25"/>
                    <a:pt x="91" y="8"/>
                    <a:pt x="94" y="0"/>
                  </a:cubicBezTo>
                  <a:cubicBezTo>
                    <a:pt x="98" y="0"/>
                    <a:pt x="102" y="0"/>
                    <a:pt x="107" y="2"/>
                  </a:cubicBezTo>
                  <a:cubicBezTo>
                    <a:pt x="114" y="4"/>
                    <a:pt x="121" y="10"/>
                    <a:pt x="127" y="14"/>
                  </a:cubicBezTo>
                  <a:cubicBezTo>
                    <a:pt x="132" y="17"/>
                    <a:pt x="131" y="20"/>
                    <a:pt x="137" y="20"/>
                  </a:cubicBezTo>
                  <a:cubicBezTo>
                    <a:pt x="143" y="19"/>
                    <a:pt x="144" y="20"/>
                    <a:pt x="147" y="18"/>
                  </a:cubicBezTo>
                  <a:cubicBezTo>
                    <a:pt x="151" y="16"/>
                    <a:pt x="157" y="5"/>
                    <a:pt x="161" y="8"/>
                  </a:cubicBezTo>
                  <a:cubicBezTo>
                    <a:pt x="165" y="10"/>
                    <a:pt x="186" y="14"/>
                    <a:pt x="189" y="18"/>
                  </a:cubicBezTo>
                  <a:cubicBezTo>
                    <a:pt x="193" y="21"/>
                    <a:pt x="197" y="30"/>
                    <a:pt x="200" y="30"/>
                  </a:cubicBezTo>
                  <a:cubicBezTo>
                    <a:pt x="204" y="30"/>
                    <a:pt x="238" y="27"/>
                    <a:pt x="242" y="27"/>
                  </a:cubicBezTo>
                  <a:cubicBezTo>
                    <a:pt x="245" y="27"/>
                    <a:pt x="260" y="31"/>
                    <a:pt x="266" y="27"/>
                  </a:cubicBezTo>
                  <a:cubicBezTo>
                    <a:pt x="272" y="24"/>
                    <a:pt x="285" y="18"/>
                    <a:pt x="290" y="18"/>
                  </a:cubicBezTo>
                  <a:cubicBezTo>
                    <a:pt x="296" y="18"/>
                    <a:pt x="315" y="15"/>
                    <a:pt x="321" y="15"/>
                  </a:cubicBezTo>
                  <a:cubicBezTo>
                    <a:pt x="327" y="15"/>
                    <a:pt x="353" y="32"/>
                    <a:pt x="362" y="35"/>
                  </a:cubicBezTo>
                  <a:cubicBezTo>
                    <a:pt x="367" y="37"/>
                    <a:pt x="375" y="38"/>
                    <a:pt x="382" y="39"/>
                  </a:cubicBezTo>
                  <a:cubicBezTo>
                    <a:pt x="380" y="69"/>
                    <a:pt x="380" y="69"/>
                    <a:pt x="380" y="69"/>
                  </a:cubicBezTo>
                  <a:cubicBezTo>
                    <a:pt x="378" y="75"/>
                    <a:pt x="377" y="92"/>
                    <a:pt x="376" y="97"/>
                  </a:cubicBezTo>
                  <a:cubicBezTo>
                    <a:pt x="375" y="102"/>
                    <a:pt x="359" y="95"/>
                    <a:pt x="358" y="104"/>
                  </a:cubicBezTo>
                  <a:cubicBezTo>
                    <a:pt x="357" y="112"/>
                    <a:pt x="375" y="165"/>
                    <a:pt x="379" y="165"/>
                  </a:cubicBezTo>
                  <a:cubicBezTo>
                    <a:pt x="383" y="165"/>
                    <a:pt x="397" y="166"/>
                    <a:pt x="402" y="168"/>
                  </a:cubicBezTo>
                  <a:cubicBezTo>
                    <a:pt x="407" y="170"/>
                    <a:pt x="429" y="189"/>
                    <a:pt x="437" y="192"/>
                  </a:cubicBezTo>
                  <a:cubicBezTo>
                    <a:pt x="445" y="196"/>
                    <a:pt x="473" y="204"/>
                    <a:pt x="487" y="205"/>
                  </a:cubicBezTo>
                  <a:cubicBezTo>
                    <a:pt x="501" y="206"/>
                    <a:pt x="517" y="215"/>
                    <a:pt x="525" y="221"/>
                  </a:cubicBezTo>
                  <a:cubicBezTo>
                    <a:pt x="532" y="227"/>
                    <a:pt x="525" y="238"/>
                    <a:pt x="531" y="242"/>
                  </a:cubicBezTo>
                  <a:cubicBezTo>
                    <a:pt x="537" y="245"/>
                    <a:pt x="553" y="250"/>
                    <a:pt x="560" y="251"/>
                  </a:cubicBezTo>
                  <a:cubicBezTo>
                    <a:pt x="567" y="252"/>
                    <a:pt x="575" y="240"/>
                    <a:pt x="579" y="235"/>
                  </a:cubicBezTo>
                  <a:cubicBezTo>
                    <a:pt x="583" y="229"/>
                    <a:pt x="580" y="212"/>
                    <a:pt x="584" y="212"/>
                  </a:cubicBezTo>
                  <a:cubicBezTo>
                    <a:pt x="600" y="212"/>
                    <a:pt x="600" y="212"/>
                    <a:pt x="600" y="212"/>
                  </a:cubicBezTo>
                  <a:cubicBezTo>
                    <a:pt x="599" y="215"/>
                    <a:pt x="599" y="217"/>
                    <a:pt x="600" y="219"/>
                  </a:cubicBezTo>
                  <a:cubicBezTo>
                    <a:pt x="605" y="224"/>
                    <a:pt x="618" y="228"/>
                    <a:pt x="620" y="233"/>
                  </a:cubicBezTo>
                  <a:cubicBezTo>
                    <a:pt x="625" y="241"/>
                    <a:pt x="639" y="268"/>
                    <a:pt x="639" y="271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  <p:sp>
          <p:nvSpPr>
            <p:cNvPr id="45" name="Freeform 214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49552" y="1752841"/>
              <a:ext cx="2126422" cy="1610357"/>
            </a:xfrm>
            <a:custGeom>
              <a:avLst/>
              <a:gdLst>
                <a:gd name="T0" fmla="*/ 150 w 677"/>
                <a:gd name="T1" fmla="*/ 461 h 512"/>
                <a:gd name="T2" fmla="*/ 137 w 677"/>
                <a:gd name="T3" fmla="*/ 437 h 512"/>
                <a:gd name="T4" fmla="*/ 80 w 677"/>
                <a:gd name="T5" fmla="*/ 434 h 512"/>
                <a:gd name="T6" fmla="*/ 38 w 677"/>
                <a:gd name="T7" fmla="*/ 386 h 512"/>
                <a:gd name="T8" fmla="*/ 8 w 677"/>
                <a:gd name="T9" fmla="*/ 346 h 512"/>
                <a:gd name="T10" fmla="*/ 27 w 677"/>
                <a:gd name="T11" fmla="*/ 332 h 512"/>
                <a:gd name="T12" fmla="*/ 12 w 677"/>
                <a:gd name="T13" fmla="*/ 277 h 512"/>
                <a:gd name="T14" fmla="*/ 33 w 677"/>
                <a:gd name="T15" fmla="*/ 229 h 512"/>
                <a:gd name="T16" fmla="*/ 82 w 677"/>
                <a:gd name="T17" fmla="*/ 221 h 512"/>
                <a:gd name="T18" fmla="*/ 106 w 677"/>
                <a:gd name="T19" fmla="*/ 236 h 512"/>
                <a:gd name="T20" fmla="*/ 148 w 677"/>
                <a:gd name="T21" fmla="*/ 225 h 512"/>
                <a:gd name="T22" fmla="*/ 225 w 677"/>
                <a:gd name="T23" fmla="*/ 213 h 512"/>
                <a:gd name="T24" fmla="*/ 258 w 677"/>
                <a:gd name="T25" fmla="*/ 171 h 512"/>
                <a:gd name="T26" fmla="*/ 267 w 677"/>
                <a:gd name="T27" fmla="*/ 101 h 512"/>
                <a:gd name="T28" fmla="*/ 329 w 677"/>
                <a:gd name="T29" fmla="*/ 119 h 512"/>
                <a:gd name="T30" fmla="*/ 331 w 677"/>
                <a:gd name="T31" fmla="*/ 94 h 512"/>
                <a:gd name="T32" fmla="*/ 402 w 677"/>
                <a:gd name="T33" fmla="*/ 68 h 512"/>
                <a:gd name="T34" fmla="*/ 443 w 677"/>
                <a:gd name="T35" fmla="*/ 24 h 512"/>
                <a:gd name="T36" fmla="*/ 481 w 677"/>
                <a:gd name="T37" fmla="*/ 3 h 512"/>
                <a:gd name="T38" fmla="*/ 504 w 677"/>
                <a:gd name="T39" fmla="*/ 17 h 512"/>
                <a:gd name="T40" fmla="*/ 551 w 677"/>
                <a:gd name="T41" fmla="*/ 74 h 512"/>
                <a:gd name="T42" fmla="*/ 545 w 677"/>
                <a:gd name="T43" fmla="*/ 149 h 512"/>
                <a:gd name="T44" fmla="*/ 612 w 677"/>
                <a:gd name="T45" fmla="*/ 192 h 512"/>
                <a:gd name="T46" fmla="*/ 676 w 677"/>
                <a:gd name="T47" fmla="*/ 288 h 512"/>
                <a:gd name="T48" fmla="*/ 665 w 677"/>
                <a:gd name="T49" fmla="*/ 317 h 512"/>
                <a:gd name="T50" fmla="*/ 615 w 677"/>
                <a:gd name="T51" fmla="*/ 335 h 512"/>
                <a:gd name="T52" fmla="*/ 583 w 677"/>
                <a:gd name="T53" fmla="*/ 385 h 512"/>
                <a:gd name="T54" fmla="*/ 489 w 677"/>
                <a:gd name="T55" fmla="*/ 415 h 512"/>
                <a:gd name="T56" fmla="*/ 466 w 677"/>
                <a:gd name="T57" fmla="*/ 443 h 512"/>
                <a:gd name="T58" fmla="*/ 483 w 677"/>
                <a:gd name="T59" fmla="*/ 481 h 512"/>
                <a:gd name="T60" fmla="*/ 461 w 677"/>
                <a:gd name="T61" fmla="*/ 511 h 512"/>
                <a:gd name="T62" fmla="*/ 438 w 677"/>
                <a:gd name="T63" fmla="*/ 500 h 512"/>
                <a:gd name="T64" fmla="*/ 377 w 677"/>
                <a:gd name="T65" fmla="*/ 476 h 512"/>
                <a:gd name="T66" fmla="*/ 322 w 677"/>
                <a:gd name="T67" fmla="*/ 488 h 512"/>
                <a:gd name="T68" fmla="*/ 256 w 677"/>
                <a:gd name="T69" fmla="*/ 491 h 512"/>
                <a:gd name="T70" fmla="*/ 217 w 677"/>
                <a:gd name="T71" fmla="*/ 469 h 512"/>
                <a:gd name="T72" fmla="*/ 193 w 677"/>
                <a:gd name="T73" fmla="*/ 481 h 512"/>
                <a:gd name="T74" fmla="*/ 163 w 677"/>
                <a:gd name="T75" fmla="*/ 46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7" h="512">
                  <a:moveTo>
                    <a:pt x="163" y="463"/>
                  </a:moveTo>
                  <a:cubicBezTo>
                    <a:pt x="158" y="461"/>
                    <a:pt x="154" y="461"/>
                    <a:pt x="150" y="461"/>
                  </a:cubicBezTo>
                  <a:cubicBezTo>
                    <a:pt x="150" y="461"/>
                    <a:pt x="150" y="460"/>
                    <a:pt x="150" y="460"/>
                  </a:cubicBezTo>
                  <a:cubicBezTo>
                    <a:pt x="152" y="453"/>
                    <a:pt x="142" y="447"/>
                    <a:pt x="137" y="437"/>
                  </a:cubicBezTo>
                  <a:cubicBezTo>
                    <a:pt x="132" y="427"/>
                    <a:pt x="124" y="428"/>
                    <a:pt x="115" y="427"/>
                  </a:cubicBezTo>
                  <a:cubicBezTo>
                    <a:pt x="106" y="426"/>
                    <a:pt x="86" y="434"/>
                    <a:pt x="80" y="434"/>
                  </a:cubicBezTo>
                  <a:cubicBezTo>
                    <a:pt x="74" y="434"/>
                    <a:pt x="46" y="410"/>
                    <a:pt x="42" y="404"/>
                  </a:cubicBezTo>
                  <a:cubicBezTo>
                    <a:pt x="38" y="398"/>
                    <a:pt x="35" y="392"/>
                    <a:pt x="38" y="386"/>
                  </a:cubicBezTo>
                  <a:cubicBezTo>
                    <a:pt x="41" y="380"/>
                    <a:pt x="42" y="368"/>
                    <a:pt x="36" y="363"/>
                  </a:cubicBezTo>
                  <a:cubicBezTo>
                    <a:pt x="30" y="358"/>
                    <a:pt x="16" y="349"/>
                    <a:pt x="8" y="346"/>
                  </a:cubicBezTo>
                  <a:cubicBezTo>
                    <a:pt x="0" y="343"/>
                    <a:pt x="4" y="339"/>
                    <a:pt x="8" y="335"/>
                  </a:cubicBezTo>
                  <a:cubicBezTo>
                    <a:pt x="12" y="331"/>
                    <a:pt x="23" y="336"/>
                    <a:pt x="27" y="332"/>
                  </a:cubicBezTo>
                  <a:cubicBezTo>
                    <a:pt x="31" y="328"/>
                    <a:pt x="35" y="300"/>
                    <a:pt x="36" y="293"/>
                  </a:cubicBezTo>
                  <a:cubicBezTo>
                    <a:pt x="37" y="286"/>
                    <a:pt x="14" y="280"/>
                    <a:pt x="12" y="277"/>
                  </a:cubicBezTo>
                  <a:cubicBezTo>
                    <a:pt x="10" y="274"/>
                    <a:pt x="18" y="251"/>
                    <a:pt x="17" y="245"/>
                  </a:cubicBezTo>
                  <a:cubicBezTo>
                    <a:pt x="16" y="239"/>
                    <a:pt x="26" y="235"/>
                    <a:pt x="33" y="229"/>
                  </a:cubicBezTo>
                  <a:cubicBezTo>
                    <a:pt x="40" y="223"/>
                    <a:pt x="55" y="222"/>
                    <a:pt x="62" y="221"/>
                  </a:cubicBezTo>
                  <a:cubicBezTo>
                    <a:pt x="69" y="220"/>
                    <a:pt x="76" y="219"/>
                    <a:pt x="82" y="221"/>
                  </a:cubicBezTo>
                  <a:cubicBezTo>
                    <a:pt x="88" y="223"/>
                    <a:pt x="80" y="230"/>
                    <a:pt x="85" y="233"/>
                  </a:cubicBezTo>
                  <a:cubicBezTo>
                    <a:pt x="90" y="236"/>
                    <a:pt x="100" y="236"/>
                    <a:pt x="106" y="236"/>
                  </a:cubicBezTo>
                  <a:cubicBezTo>
                    <a:pt x="112" y="236"/>
                    <a:pt x="109" y="228"/>
                    <a:pt x="123" y="223"/>
                  </a:cubicBezTo>
                  <a:cubicBezTo>
                    <a:pt x="137" y="218"/>
                    <a:pt x="136" y="222"/>
                    <a:pt x="148" y="225"/>
                  </a:cubicBezTo>
                  <a:cubicBezTo>
                    <a:pt x="160" y="228"/>
                    <a:pt x="168" y="222"/>
                    <a:pt x="174" y="220"/>
                  </a:cubicBezTo>
                  <a:cubicBezTo>
                    <a:pt x="180" y="218"/>
                    <a:pt x="216" y="213"/>
                    <a:pt x="225" y="213"/>
                  </a:cubicBezTo>
                  <a:cubicBezTo>
                    <a:pt x="234" y="213"/>
                    <a:pt x="228" y="205"/>
                    <a:pt x="231" y="197"/>
                  </a:cubicBezTo>
                  <a:cubicBezTo>
                    <a:pt x="234" y="189"/>
                    <a:pt x="257" y="176"/>
                    <a:pt x="258" y="171"/>
                  </a:cubicBezTo>
                  <a:cubicBezTo>
                    <a:pt x="259" y="166"/>
                    <a:pt x="262" y="126"/>
                    <a:pt x="264" y="119"/>
                  </a:cubicBezTo>
                  <a:cubicBezTo>
                    <a:pt x="266" y="112"/>
                    <a:pt x="262" y="101"/>
                    <a:pt x="267" y="101"/>
                  </a:cubicBezTo>
                  <a:cubicBezTo>
                    <a:pt x="272" y="101"/>
                    <a:pt x="301" y="101"/>
                    <a:pt x="308" y="103"/>
                  </a:cubicBezTo>
                  <a:cubicBezTo>
                    <a:pt x="315" y="105"/>
                    <a:pt x="326" y="122"/>
                    <a:pt x="329" y="119"/>
                  </a:cubicBezTo>
                  <a:cubicBezTo>
                    <a:pt x="332" y="116"/>
                    <a:pt x="340" y="107"/>
                    <a:pt x="337" y="105"/>
                  </a:cubicBezTo>
                  <a:cubicBezTo>
                    <a:pt x="334" y="103"/>
                    <a:pt x="328" y="99"/>
                    <a:pt x="331" y="94"/>
                  </a:cubicBezTo>
                  <a:cubicBezTo>
                    <a:pt x="334" y="89"/>
                    <a:pt x="359" y="46"/>
                    <a:pt x="366" y="43"/>
                  </a:cubicBezTo>
                  <a:cubicBezTo>
                    <a:pt x="373" y="40"/>
                    <a:pt x="393" y="63"/>
                    <a:pt x="402" y="68"/>
                  </a:cubicBezTo>
                  <a:cubicBezTo>
                    <a:pt x="411" y="73"/>
                    <a:pt x="423" y="70"/>
                    <a:pt x="429" y="65"/>
                  </a:cubicBezTo>
                  <a:cubicBezTo>
                    <a:pt x="435" y="60"/>
                    <a:pt x="437" y="31"/>
                    <a:pt x="443" y="24"/>
                  </a:cubicBezTo>
                  <a:cubicBezTo>
                    <a:pt x="449" y="17"/>
                    <a:pt x="465" y="19"/>
                    <a:pt x="470" y="18"/>
                  </a:cubicBezTo>
                  <a:cubicBezTo>
                    <a:pt x="475" y="17"/>
                    <a:pt x="476" y="6"/>
                    <a:pt x="481" y="3"/>
                  </a:cubicBezTo>
                  <a:cubicBezTo>
                    <a:pt x="486" y="0"/>
                    <a:pt x="496" y="3"/>
                    <a:pt x="501" y="5"/>
                  </a:cubicBezTo>
                  <a:cubicBezTo>
                    <a:pt x="506" y="7"/>
                    <a:pt x="504" y="6"/>
                    <a:pt x="504" y="17"/>
                  </a:cubicBezTo>
                  <a:cubicBezTo>
                    <a:pt x="504" y="28"/>
                    <a:pt x="515" y="42"/>
                    <a:pt x="521" y="52"/>
                  </a:cubicBezTo>
                  <a:cubicBezTo>
                    <a:pt x="527" y="62"/>
                    <a:pt x="547" y="70"/>
                    <a:pt x="551" y="74"/>
                  </a:cubicBezTo>
                  <a:cubicBezTo>
                    <a:pt x="555" y="78"/>
                    <a:pt x="563" y="110"/>
                    <a:pt x="563" y="119"/>
                  </a:cubicBezTo>
                  <a:cubicBezTo>
                    <a:pt x="563" y="128"/>
                    <a:pt x="551" y="144"/>
                    <a:pt x="545" y="149"/>
                  </a:cubicBezTo>
                  <a:cubicBezTo>
                    <a:pt x="539" y="154"/>
                    <a:pt x="541" y="163"/>
                    <a:pt x="546" y="170"/>
                  </a:cubicBezTo>
                  <a:cubicBezTo>
                    <a:pt x="551" y="177"/>
                    <a:pt x="605" y="188"/>
                    <a:pt x="612" y="192"/>
                  </a:cubicBezTo>
                  <a:cubicBezTo>
                    <a:pt x="619" y="196"/>
                    <a:pt x="644" y="220"/>
                    <a:pt x="653" y="229"/>
                  </a:cubicBezTo>
                  <a:cubicBezTo>
                    <a:pt x="662" y="238"/>
                    <a:pt x="671" y="286"/>
                    <a:pt x="676" y="288"/>
                  </a:cubicBezTo>
                  <a:cubicBezTo>
                    <a:pt x="676" y="288"/>
                    <a:pt x="677" y="288"/>
                    <a:pt x="677" y="288"/>
                  </a:cubicBezTo>
                  <a:cubicBezTo>
                    <a:pt x="674" y="295"/>
                    <a:pt x="666" y="314"/>
                    <a:pt x="665" y="317"/>
                  </a:cubicBezTo>
                  <a:cubicBezTo>
                    <a:pt x="663" y="320"/>
                    <a:pt x="645" y="318"/>
                    <a:pt x="637" y="319"/>
                  </a:cubicBezTo>
                  <a:cubicBezTo>
                    <a:pt x="630" y="321"/>
                    <a:pt x="620" y="331"/>
                    <a:pt x="615" y="335"/>
                  </a:cubicBezTo>
                  <a:cubicBezTo>
                    <a:pt x="609" y="339"/>
                    <a:pt x="595" y="340"/>
                    <a:pt x="586" y="345"/>
                  </a:cubicBezTo>
                  <a:cubicBezTo>
                    <a:pt x="577" y="349"/>
                    <a:pt x="583" y="379"/>
                    <a:pt x="583" y="385"/>
                  </a:cubicBezTo>
                  <a:cubicBezTo>
                    <a:pt x="583" y="385"/>
                    <a:pt x="581" y="397"/>
                    <a:pt x="581" y="408"/>
                  </a:cubicBezTo>
                  <a:cubicBezTo>
                    <a:pt x="574" y="407"/>
                    <a:pt x="495" y="415"/>
                    <a:pt x="489" y="415"/>
                  </a:cubicBezTo>
                  <a:cubicBezTo>
                    <a:pt x="483" y="416"/>
                    <a:pt x="469" y="416"/>
                    <a:pt x="467" y="422"/>
                  </a:cubicBezTo>
                  <a:cubicBezTo>
                    <a:pt x="466" y="428"/>
                    <a:pt x="464" y="439"/>
                    <a:pt x="466" y="443"/>
                  </a:cubicBezTo>
                  <a:cubicBezTo>
                    <a:pt x="467" y="446"/>
                    <a:pt x="492" y="460"/>
                    <a:pt x="492" y="465"/>
                  </a:cubicBezTo>
                  <a:cubicBezTo>
                    <a:pt x="492" y="470"/>
                    <a:pt x="487" y="475"/>
                    <a:pt x="483" y="481"/>
                  </a:cubicBezTo>
                  <a:cubicBezTo>
                    <a:pt x="479" y="486"/>
                    <a:pt x="479" y="499"/>
                    <a:pt x="479" y="504"/>
                  </a:cubicBezTo>
                  <a:cubicBezTo>
                    <a:pt x="479" y="509"/>
                    <a:pt x="468" y="511"/>
                    <a:pt x="461" y="511"/>
                  </a:cubicBezTo>
                  <a:cubicBezTo>
                    <a:pt x="455" y="512"/>
                    <a:pt x="449" y="504"/>
                    <a:pt x="446" y="502"/>
                  </a:cubicBezTo>
                  <a:cubicBezTo>
                    <a:pt x="445" y="501"/>
                    <a:pt x="442" y="501"/>
                    <a:pt x="438" y="500"/>
                  </a:cubicBezTo>
                  <a:cubicBezTo>
                    <a:pt x="431" y="499"/>
                    <a:pt x="423" y="498"/>
                    <a:pt x="418" y="496"/>
                  </a:cubicBezTo>
                  <a:cubicBezTo>
                    <a:pt x="409" y="493"/>
                    <a:pt x="383" y="476"/>
                    <a:pt x="377" y="476"/>
                  </a:cubicBezTo>
                  <a:cubicBezTo>
                    <a:pt x="371" y="476"/>
                    <a:pt x="352" y="479"/>
                    <a:pt x="346" y="479"/>
                  </a:cubicBezTo>
                  <a:cubicBezTo>
                    <a:pt x="341" y="479"/>
                    <a:pt x="328" y="485"/>
                    <a:pt x="322" y="488"/>
                  </a:cubicBezTo>
                  <a:cubicBezTo>
                    <a:pt x="316" y="492"/>
                    <a:pt x="301" y="488"/>
                    <a:pt x="298" y="488"/>
                  </a:cubicBezTo>
                  <a:cubicBezTo>
                    <a:pt x="294" y="488"/>
                    <a:pt x="260" y="491"/>
                    <a:pt x="256" y="491"/>
                  </a:cubicBezTo>
                  <a:cubicBezTo>
                    <a:pt x="253" y="491"/>
                    <a:pt x="249" y="482"/>
                    <a:pt x="245" y="479"/>
                  </a:cubicBezTo>
                  <a:cubicBezTo>
                    <a:pt x="242" y="475"/>
                    <a:pt x="221" y="471"/>
                    <a:pt x="217" y="469"/>
                  </a:cubicBezTo>
                  <a:cubicBezTo>
                    <a:pt x="213" y="466"/>
                    <a:pt x="207" y="477"/>
                    <a:pt x="203" y="479"/>
                  </a:cubicBezTo>
                  <a:cubicBezTo>
                    <a:pt x="200" y="481"/>
                    <a:pt x="199" y="480"/>
                    <a:pt x="193" y="481"/>
                  </a:cubicBezTo>
                  <a:cubicBezTo>
                    <a:pt x="187" y="481"/>
                    <a:pt x="188" y="478"/>
                    <a:pt x="183" y="475"/>
                  </a:cubicBezTo>
                  <a:cubicBezTo>
                    <a:pt x="177" y="471"/>
                    <a:pt x="170" y="465"/>
                    <a:pt x="163" y="463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ap="rnd" algn="ctr">
              <a:solidFill>
                <a:schemeClr val="bg1">
                  <a:lumMod val="75000"/>
                  <a:alpha val="7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eaLnBrk="0" hangingPunct="0"/>
              <a:endParaRPr lang="en-US" sz="2800">
                <a:latin typeface="+mn-lt"/>
              </a:endParaRPr>
            </a:p>
          </p:txBody>
        </p:sp>
      </p:grpSp>
      <p:sp>
        <p:nvSpPr>
          <p:cNvPr id="49" name="Rectangle 5">
            <a:extLst>
              <a:ext uri="{FF2B5EF4-FFF2-40B4-BE49-F238E27FC236}">
                <a16:creationId xmlns:a16="http://schemas.microsoft.com/office/drawing/2014/main" id="{24322283-D6A1-4E3A-9CE0-F61CBD0A0CE5}"/>
              </a:ext>
            </a:extLst>
          </p:cNvPr>
          <p:cNvSpPr/>
          <p:nvPr/>
        </p:nvSpPr>
        <p:spPr>
          <a:xfrm>
            <a:off x="2891564" y="2874562"/>
            <a:ext cx="157126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FFC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" panose="020B0606030504020204" pitchFamily="34" charset="0"/>
              </a:rPr>
              <a:t>2001 Beijing Office </a:t>
            </a:r>
            <a:endParaRPr lang="en-US" sz="1100" b="1" dirty="0">
              <a:solidFill>
                <a:srgbClr val="FFC000"/>
              </a:solidFill>
            </a:endParaRPr>
          </a:p>
        </p:txBody>
      </p:sp>
      <p:sp>
        <p:nvSpPr>
          <p:cNvPr id="50" name="Rectangle 14">
            <a:extLst>
              <a:ext uri="{FF2B5EF4-FFF2-40B4-BE49-F238E27FC236}">
                <a16:creationId xmlns:a16="http://schemas.microsoft.com/office/drawing/2014/main" id="{C8256A5F-15D9-4DFD-B2AC-3DBF23E4D077}"/>
              </a:ext>
            </a:extLst>
          </p:cNvPr>
          <p:cNvSpPr/>
          <p:nvPr/>
        </p:nvSpPr>
        <p:spPr>
          <a:xfrm>
            <a:off x="3586233" y="3873728"/>
            <a:ext cx="173957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FFC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Open Sans" panose="020B0606030504020204" pitchFamily="34" charset="0"/>
              </a:rPr>
              <a:t>2016 Shanghai Office </a:t>
            </a: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6289" y="2328483"/>
            <a:ext cx="956866" cy="513686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7718" y="2803370"/>
            <a:ext cx="356590" cy="104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3649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BE1B87A-753E-4DBF-9668-040A0A8BA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78900"/>
            <a:ext cx="12192000" cy="576513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19348" y="145406"/>
            <a:ext cx="6605603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Wiley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期刊主页（</a:t>
            </a: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Journal Home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）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060E303-3699-4CD6-8322-550EE9B9D9DA}"/>
              </a:ext>
            </a:extLst>
          </p:cNvPr>
          <p:cNvSpPr/>
          <p:nvPr/>
        </p:nvSpPr>
        <p:spPr>
          <a:xfrm>
            <a:off x="1167619" y="3290103"/>
            <a:ext cx="4855998" cy="1320682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B7BE518-EA39-4518-8E20-03FB6F325847}"/>
              </a:ext>
            </a:extLst>
          </p:cNvPr>
          <p:cNvSpPr/>
          <p:nvPr/>
        </p:nvSpPr>
        <p:spPr>
          <a:xfrm>
            <a:off x="6023617" y="4117767"/>
            <a:ext cx="1612996" cy="51418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期刊信息</a:t>
            </a:r>
            <a:endParaRPr lang="en-US" sz="16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9C1E837-82D5-41C0-9D9C-A562C078127E}"/>
              </a:ext>
            </a:extLst>
          </p:cNvPr>
          <p:cNvSpPr/>
          <p:nvPr/>
        </p:nvSpPr>
        <p:spPr>
          <a:xfrm>
            <a:off x="7763645" y="2483604"/>
            <a:ext cx="2688327" cy="1612996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6E19E6-E187-4D9F-9842-5DE096870E07}"/>
              </a:ext>
            </a:extLst>
          </p:cNvPr>
          <p:cNvSpPr/>
          <p:nvPr/>
        </p:nvSpPr>
        <p:spPr>
          <a:xfrm>
            <a:off x="7988070" y="4096600"/>
            <a:ext cx="2463901" cy="51418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查看卷次与期次</a:t>
            </a:r>
            <a:endParaRPr lang="en-US" sz="16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9389060-97C3-4B41-987D-7E17ED03220C}"/>
              </a:ext>
            </a:extLst>
          </p:cNvPr>
          <p:cNvSpPr/>
          <p:nvPr/>
        </p:nvSpPr>
        <p:spPr>
          <a:xfrm>
            <a:off x="1402438" y="4773590"/>
            <a:ext cx="5462596" cy="466333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DA253F-4E7B-4627-A36E-270817007BE8}"/>
              </a:ext>
            </a:extLst>
          </p:cNvPr>
          <p:cNvSpPr/>
          <p:nvPr/>
        </p:nvSpPr>
        <p:spPr>
          <a:xfrm>
            <a:off x="4875973" y="5228104"/>
            <a:ext cx="1989061" cy="51418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功能栏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355AAD1-F0B1-437E-9C63-4C60908CC727}"/>
              </a:ext>
            </a:extLst>
          </p:cNvPr>
          <p:cNvSpPr/>
          <p:nvPr/>
        </p:nvSpPr>
        <p:spPr>
          <a:xfrm>
            <a:off x="9752706" y="5482649"/>
            <a:ext cx="927712" cy="51418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投稿</a:t>
            </a:r>
            <a:endParaRPr lang="en-US" sz="16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451FDA1-54C0-46F7-B134-BEC4A452F6C7}"/>
              </a:ext>
            </a:extLst>
          </p:cNvPr>
          <p:cNvSpPr/>
          <p:nvPr/>
        </p:nvSpPr>
        <p:spPr>
          <a:xfrm>
            <a:off x="7763645" y="5479856"/>
            <a:ext cx="1989061" cy="510677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D261AEB-BCC3-42F5-933A-E41362C6AC00}"/>
              </a:ext>
            </a:extLst>
          </p:cNvPr>
          <p:cNvSpPr/>
          <p:nvPr/>
        </p:nvSpPr>
        <p:spPr>
          <a:xfrm>
            <a:off x="6999189" y="660598"/>
            <a:ext cx="2679383" cy="629027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BDFDBCD-7BAC-477C-8CCD-EB771528EC3B}"/>
              </a:ext>
            </a:extLst>
          </p:cNvPr>
          <p:cNvSpPr/>
          <p:nvPr/>
        </p:nvSpPr>
        <p:spPr>
          <a:xfrm>
            <a:off x="4771720" y="777426"/>
            <a:ext cx="2227469" cy="51418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以在本刊内进行检索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05377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3" grpId="0" animBg="1"/>
      <p:bldP spid="24" grpId="0" animBg="1"/>
      <p:bldP spid="25" grpId="0" animBg="1"/>
      <p:bldP spid="32" grpId="0" animBg="1"/>
      <p:bldP spid="33" grpId="0" animBg="1"/>
      <p:bldP spid="36" grpId="0" animBg="1"/>
      <p:bldP spid="41" grpId="0" animBg="1"/>
      <p:bldP spid="4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19348" y="145406"/>
            <a:ext cx="6605603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Wiley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期刊主页（</a:t>
            </a: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Journal Home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）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D8B329-0F15-4038-949D-E1D6A4D33A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86356"/>
            <a:ext cx="12192000" cy="508528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54E8D08-86CF-46B3-8F26-9AC548C6E267}"/>
              </a:ext>
            </a:extLst>
          </p:cNvPr>
          <p:cNvSpPr/>
          <p:nvPr/>
        </p:nvSpPr>
        <p:spPr>
          <a:xfrm>
            <a:off x="9832687" y="839516"/>
            <a:ext cx="1041638" cy="701252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2D16B73-1851-4A3B-906F-55FA090ABF4C}"/>
              </a:ext>
            </a:extLst>
          </p:cNvPr>
          <p:cNvSpPr/>
          <p:nvPr/>
        </p:nvSpPr>
        <p:spPr>
          <a:xfrm>
            <a:off x="9288625" y="1561850"/>
            <a:ext cx="1612996" cy="51418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订阅与提醒</a:t>
            </a:r>
            <a:endParaRPr lang="en-US" sz="16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DB3F4D-65D0-4BBE-B98C-B1FB61E30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854" y="1411140"/>
            <a:ext cx="1078350" cy="161103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973352-5FEE-4805-AF87-18A493A21E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3705" y="1411140"/>
            <a:ext cx="1244823" cy="155043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C8A1F88-2714-49ED-816C-632EA62AB3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8528" y="1411141"/>
            <a:ext cx="1121377" cy="133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264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22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 txBox="1">
            <a:spLocks/>
          </p:cNvSpPr>
          <p:nvPr/>
        </p:nvSpPr>
        <p:spPr>
          <a:xfrm>
            <a:off x="923544" y="457200"/>
            <a:ext cx="10921126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b="1" dirty="0">
                <a:solidFill>
                  <a:srgbClr val="FF33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通过小锁图标区分可访问的内容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B733427-C91F-4AC5-9605-20C1DB919CC2}"/>
              </a:ext>
            </a:extLst>
          </p:cNvPr>
          <p:cNvGrpSpPr/>
          <p:nvPr/>
        </p:nvGrpSpPr>
        <p:grpSpPr>
          <a:xfrm>
            <a:off x="2022021" y="4005664"/>
            <a:ext cx="310968" cy="431652"/>
            <a:chOff x="1019880" y="4920948"/>
            <a:chExt cx="357984" cy="496917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2EC8E378-0D74-409D-8D74-393BA17C824D}"/>
                </a:ext>
              </a:extLst>
            </p:cNvPr>
            <p:cNvSpPr/>
            <p:nvPr/>
          </p:nvSpPr>
          <p:spPr>
            <a:xfrm>
              <a:off x="1019880" y="5090599"/>
              <a:ext cx="357984" cy="327266"/>
            </a:xfrm>
            <a:prstGeom prst="roundRect">
              <a:avLst>
                <a:gd name="adj" fmla="val 1830"/>
              </a:avLst>
            </a:prstGeom>
            <a:noFill/>
            <a:ln w="50800">
              <a:solidFill>
                <a:srgbClr val="4C6F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/>
            </a:p>
          </p:txBody>
        </p:sp>
        <p:sp>
          <p:nvSpPr>
            <p:cNvPr id="12" name="object 82">
              <a:extLst>
                <a:ext uri="{FF2B5EF4-FFF2-40B4-BE49-F238E27FC236}">
                  <a16:creationId xmlns:a16="http://schemas.microsoft.com/office/drawing/2014/main" id="{B5A24F98-9924-4C7B-BBCB-6E7D09483BF0}"/>
                </a:ext>
              </a:extLst>
            </p:cNvPr>
            <p:cNvSpPr/>
            <p:nvPr/>
          </p:nvSpPr>
          <p:spPr>
            <a:xfrm>
              <a:off x="1162296" y="5217656"/>
              <a:ext cx="73152" cy="73152"/>
            </a:xfrm>
            <a:custGeom>
              <a:avLst/>
              <a:gdLst/>
              <a:ahLst/>
              <a:cxnLst/>
              <a:rect l="l" t="t" r="r" b="b"/>
              <a:pathLst>
                <a:path w="230647" h="230142">
                  <a:moveTo>
                    <a:pt x="110025" y="0"/>
                  </a:moveTo>
                  <a:lnTo>
                    <a:pt x="69980" y="9201"/>
                  </a:lnTo>
                  <a:lnTo>
                    <a:pt x="36611" y="31677"/>
                  </a:lnTo>
                  <a:lnTo>
                    <a:pt x="12639" y="65323"/>
                  </a:lnTo>
                  <a:lnTo>
                    <a:pt x="787" y="108032"/>
                  </a:lnTo>
                  <a:lnTo>
                    <a:pt x="0" y="123919"/>
                  </a:lnTo>
                  <a:lnTo>
                    <a:pt x="1825" y="137470"/>
                  </a:lnTo>
                  <a:lnTo>
                    <a:pt x="16467" y="174468"/>
                  </a:lnTo>
                  <a:lnTo>
                    <a:pt x="43500" y="203973"/>
                  </a:lnTo>
                  <a:lnTo>
                    <a:pt x="81184" y="223394"/>
                  </a:lnTo>
                  <a:lnTo>
                    <a:pt x="127779" y="230142"/>
                  </a:lnTo>
                  <a:lnTo>
                    <a:pt x="141956" y="227698"/>
                  </a:lnTo>
                  <a:lnTo>
                    <a:pt x="180160" y="210807"/>
                  </a:lnTo>
                  <a:lnTo>
                    <a:pt x="209528" y="181924"/>
                  </a:lnTo>
                  <a:lnTo>
                    <a:pt x="227044" y="144070"/>
                  </a:lnTo>
                  <a:lnTo>
                    <a:pt x="230647" y="115343"/>
                  </a:lnTo>
                  <a:lnTo>
                    <a:pt x="230626" y="113115"/>
                  </a:lnTo>
                  <a:lnTo>
                    <a:pt x="222207" y="72104"/>
                  </a:lnTo>
                  <a:lnTo>
                    <a:pt x="200231" y="37841"/>
                  </a:lnTo>
                  <a:lnTo>
                    <a:pt x="167154" y="13149"/>
                  </a:lnTo>
                  <a:lnTo>
                    <a:pt x="125430" y="854"/>
                  </a:lnTo>
                  <a:lnTo>
                    <a:pt x="110025" y="0"/>
                  </a:lnTo>
                  <a:close/>
                </a:path>
              </a:pathLst>
            </a:custGeom>
            <a:solidFill>
              <a:srgbClr val="4C6FD9"/>
            </a:solidFill>
            <a:ln w="50800">
              <a:solidFill>
                <a:srgbClr val="4C6FD9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4000" dirty="0"/>
            </a:p>
          </p:txBody>
        </p:sp>
        <p:sp>
          <p:nvSpPr>
            <p:cNvPr id="13" name="object 84">
              <a:extLst>
                <a:ext uri="{FF2B5EF4-FFF2-40B4-BE49-F238E27FC236}">
                  <a16:creationId xmlns:a16="http://schemas.microsoft.com/office/drawing/2014/main" id="{405B9BBC-A473-4E7C-9297-25BEA38B2AB9}"/>
                </a:ext>
              </a:extLst>
            </p:cNvPr>
            <p:cNvSpPr/>
            <p:nvPr/>
          </p:nvSpPr>
          <p:spPr>
            <a:xfrm>
              <a:off x="1094187" y="4920948"/>
              <a:ext cx="209369" cy="169651"/>
            </a:xfrm>
            <a:custGeom>
              <a:avLst/>
              <a:gdLst>
                <a:gd name="connsiteX0" fmla="*/ 455510 w 455510"/>
                <a:gd name="connsiteY0" fmla="*/ 514629 h 514629"/>
                <a:gd name="connsiteX1" fmla="*/ 455510 w 455510"/>
                <a:gd name="connsiteY1" fmla="*/ 227749 h 514629"/>
                <a:gd name="connsiteX2" fmla="*/ 454755 w 455510"/>
                <a:gd name="connsiteY2" fmla="*/ 209070 h 514629"/>
                <a:gd name="connsiteX3" fmla="*/ 443899 w 455510"/>
                <a:gd name="connsiteY3" fmla="*/ 155763 h 514629"/>
                <a:gd name="connsiteX4" fmla="*/ 421388 w 455510"/>
                <a:gd name="connsiteY4" fmla="*/ 107781 h 514629"/>
                <a:gd name="connsiteX5" fmla="*/ 388804 w 455510"/>
                <a:gd name="connsiteY5" fmla="*/ 66706 h 514629"/>
                <a:gd name="connsiteX6" fmla="*/ 347729 w 455510"/>
                <a:gd name="connsiteY6" fmla="*/ 34122 h 514629"/>
                <a:gd name="connsiteX7" fmla="*/ 299747 w 455510"/>
                <a:gd name="connsiteY7" fmla="*/ 11610 h 514629"/>
                <a:gd name="connsiteX8" fmla="*/ 246440 w 455510"/>
                <a:gd name="connsiteY8" fmla="*/ 754 h 514629"/>
                <a:gd name="connsiteX9" fmla="*/ 227761 w 455510"/>
                <a:gd name="connsiteY9" fmla="*/ 0 h 514629"/>
                <a:gd name="connsiteX10" fmla="*/ 209081 w 455510"/>
                <a:gd name="connsiteY10" fmla="*/ 754 h 514629"/>
                <a:gd name="connsiteX11" fmla="*/ 155769 w 455510"/>
                <a:gd name="connsiteY11" fmla="*/ 11610 h 514629"/>
                <a:gd name="connsiteX12" fmla="*/ 107784 w 455510"/>
                <a:gd name="connsiteY12" fmla="*/ 34122 h 514629"/>
                <a:gd name="connsiteX13" fmla="*/ 66708 w 455510"/>
                <a:gd name="connsiteY13" fmla="*/ 66706 h 514629"/>
                <a:gd name="connsiteX14" fmla="*/ 34122 w 455510"/>
                <a:gd name="connsiteY14" fmla="*/ 107781 h 514629"/>
                <a:gd name="connsiteX15" fmla="*/ 11611 w 455510"/>
                <a:gd name="connsiteY15" fmla="*/ 155763 h 514629"/>
                <a:gd name="connsiteX16" fmla="*/ 754 w 455510"/>
                <a:gd name="connsiteY16" fmla="*/ 209070 h 514629"/>
                <a:gd name="connsiteX17" fmla="*/ 0 w 455510"/>
                <a:gd name="connsiteY17" fmla="*/ 326536 h 5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5510" h="514629">
                  <a:moveTo>
                    <a:pt x="455510" y="514629"/>
                  </a:moveTo>
                  <a:lnTo>
                    <a:pt x="455510" y="227749"/>
                  </a:lnTo>
                  <a:cubicBezTo>
                    <a:pt x="455258" y="221523"/>
                    <a:pt x="455007" y="215296"/>
                    <a:pt x="454755" y="209070"/>
                  </a:cubicBezTo>
                  <a:lnTo>
                    <a:pt x="443899" y="155763"/>
                  </a:lnTo>
                  <a:lnTo>
                    <a:pt x="421388" y="107781"/>
                  </a:lnTo>
                  <a:lnTo>
                    <a:pt x="388804" y="66706"/>
                  </a:lnTo>
                  <a:lnTo>
                    <a:pt x="347729" y="34122"/>
                  </a:lnTo>
                  <a:lnTo>
                    <a:pt x="299747" y="11610"/>
                  </a:lnTo>
                  <a:lnTo>
                    <a:pt x="246440" y="754"/>
                  </a:lnTo>
                  <a:lnTo>
                    <a:pt x="227761" y="0"/>
                  </a:lnTo>
                  <a:lnTo>
                    <a:pt x="209081" y="754"/>
                  </a:lnTo>
                  <a:lnTo>
                    <a:pt x="155769" y="11610"/>
                  </a:lnTo>
                  <a:lnTo>
                    <a:pt x="107784" y="34122"/>
                  </a:lnTo>
                  <a:lnTo>
                    <a:pt x="66708" y="66706"/>
                  </a:lnTo>
                  <a:lnTo>
                    <a:pt x="34122" y="107781"/>
                  </a:lnTo>
                  <a:lnTo>
                    <a:pt x="11611" y="155763"/>
                  </a:lnTo>
                  <a:lnTo>
                    <a:pt x="754" y="209070"/>
                  </a:lnTo>
                  <a:cubicBezTo>
                    <a:pt x="503" y="215296"/>
                    <a:pt x="251" y="320310"/>
                    <a:pt x="0" y="326536"/>
                  </a:cubicBezTo>
                </a:path>
              </a:pathLst>
            </a:custGeom>
            <a:ln w="50800">
              <a:solidFill>
                <a:srgbClr val="4C6FD9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4000"/>
            </a:p>
          </p:txBody>
        </p:sp>
      </p:grpSp>
      <p:sp>
        <p:nvSpPr>
          <p:cNvPr id="14" name="object 37">
            <a:extLst>
              <a:ext uri="{FF2B5EF4-FFF2-40B4-BE49-F238E27FC236}">
                <a16:creationId xmlns:a16="http://schemas.microsoft.com/office/drawing/2014/main" id="{E9D46E12-CD33-4942-9989-1F97D3FCDEFB}"/>
              </a:ext>
            </a:extLst>
          </p:cNvPr>
          <p:cNvSpPr txBox="1"/>
          <p:nvPr/>
        </p:nvSpPr>
        <p:spPr>
          <a:xfrm>
            <a:off x="2576045" y="4035472"/>
            <a:ext cx="2582040" cy="4018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ct val="100000"/>
              </a:lnSpc>
            </a:pPr>
            <a:r>
              <a:rPr lang="en-US" sz="2800" b="1" dirty="0">
                <a:solidFill>
                  <a:srgbClr val="4C6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ee Access</a:t>
            </a:r>
            <a:endParaRPr sz="2800" b="1" dirty="0">
              <a:solidFill>
                <a:srgbClr val="4C6FD9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7DD8697-1E37-4EF7-AC36-00E51761CF17}"/>
              </a:ext>
            </a:extLst>
          </p:cNvPr>
          <p:cNvGrpSpPr/>
          <p:nvPr/>
        </p:nvGrpSpPr>
        <p:grpSpPr>
          <a:xfrm>
            <a:off x="2041120" y="2310590"/>
            <a:ext cx="310968" cy="431652"/>
            <a:chOff x="1019880" y="4920948"/>
            <a:chExt cx="357984" cy="496917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F7858F7E-6C9C-443A-B03A-B14BA5B40909}"/>
                </a:ext>
              </a:extLst>
            </p:cNvPr>
            <p:cNvSpPr/>
            <p:nvPr/>
          </p:nvSpPr>
          <p:spPr>
            <a:xfrm>
              <a:off x="1019880" y="5090599"/>
              <a:ext cx="357984" cy="327266"/>
            </a:xfrm>
            <a:prstGeom prst="roundRect">
              <a:avLst>
                <a:gd name="adj" fmla="val 1830"/>
              </a:avLst>
            </a:prstGeom>
            <a:noFill/>
            <a:ln w="50800">
              <a:solidFill>
                <a:srgbClr val="4C897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/>
            </a:p>
          </p:txBody>
        </p:sp>
        <p:sp>
          <p:nvSpPr>
            <p:cNvPr id="17" name="object 82">
              <a:extLst>
                <a:ext uri="{FF2B5EF4-FFF2-40B4-BE49-F238E27FC236}">
                  <a16:creationId xmlns:a16="http://schemas.microsoft.com/office/drawing/2014/main" id="{DD9E1E99-F813-4A83-BB32-B8C4EF74CC3E}"/>
                </a:ext>
              </a:extLst>
            </p:cNvPr>
            <p:cNvSpPr/>
            <p:nvPr/>
          </p:nvSpPr>
          <p:spPr>
            <a:xfrm>
              <a:off x="1162296" y="5217656"/>
              <a:ext cx="73152" cy="73152"/>
            </a:xfrm>
            <a:custGeom>
              <a:avLst/>
              <a:gdLst/>
              <a:ahLst/>
              <a:cxnLst/>
              <a:rect l="l" t="t" r="r" b="b"/>
              <a:pathLst>
                <a:path w="230647" h="230142">
                  <a:moveTo>
                    <a:pt x="110025" y="0"/>
                  </a:moveTo>
                  <a:lnTo>
                    <a:pt x="69980" y="9201"/>
                  </a:lnTo>
                  <a:lnTo>
                    <a:pt x="36611" y="31677"/>
                  </a:lnTo>
                  <a:lnTo>
                    <a:pt x="12639" y="65323"/>
                  </a:lnTo>
                  <a:lnTo>
                    <a:pt x="787" y="108032"/>
                  </a:lnTo>
                  <a:lnTo>
                    <a:pt x="0" y="123919"/>
                  </a:lnTo>
                  <a:lnTo>
                    <a:pt x="1825" y="137470"/>
                  </a:lnTo>
                  <a:lnTo>
                    <a:pt x="16467" y="174468"/>
                  </a:lnTo>
                  <a:lnTo>
                    <a:pt x="43500" y="203973"/>
                  </a:lnTo>
                  <a:lnTo>
                    <a:pt x="81184" y="223394"/>
                  </a:lnTo>
                  <a:lnTo>
                    <a:pt x="127779" y="230142"/>
                  </a:lnTo>
                  <a:lnTo>
                    <a:pt x="141956" y="227698"/>
                  </a:lnTo>
                  <a:lnTo>
                    <a:pt x="180160" y="210807"/>
                  </a:lnTo>
                  <a:lnTo>
                    <a:pt x="209528" y="181924"/>
                  </a:lnTo>
                  <a:lnTo>
                    <a:pt x="227044" y="144070"/>
                  </a:lnTo>
                  <a:lnTo>
                    <a:pt x="230647" y="115343"/>
                  </a:lnTo>
                  <a:lnTo>
                    <a:pt x="230626" y="113115"/>
                  </a:lnTo>
                  <a:lnTo>
                    <a:pt x="222207" y="72104"/>
                  </a:lnTo>
                  <a:lnTo>
                    <a:pt x="200231" y="37841"/>
                  </a:lnTo>
                  <a:lnTo>
                    <a:pt x="167154" y="13149"/>
                  </a:lnTo>
                  <a:lnTo>
                    <a:pt x="125430" y="854"/>
                  </a:lnTo>
                  <a:lnTo>
                    <a:pt x="110025" y="0"/>
                  </a:lnTo>
                  <a:close/>
                </a:path>
              </a:pathLst>
            </a:custGeom>
            <a:solidFill>
              <a:srgbClr val="4C8973"/>
            </a:solidFill>
            <a:ln w="50800">
              <a:solidFill>
                <a:srgbClr val="4C8973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4000" dirty="0"/>
            </a:p>
          </p:txBody>
        </p:sp>
        <p:sp>
          <p:nvSpPr>
            <p:cNvPr id="18" name="object 84">
              <a:extLst>
                <a:ext uri="{FF2B5EF4-FFF2-40B4-BE49-F238E27FC236}">
                  <a16:creationId xmlns:a16="http://schemas.microsoft.com/office/drawing/2014/main" id="{CE2404C2-5CFA-475F-A552-2C629EF1C525}"/>
                </a:ext>
              </a:extLst>
            </p:cNvPr>
            <p:cNvSpPr/>
            <p:nvPr/>
          </p:nvSpPr>
          <p:spPr>
            <a:xfrm>
              <a:off x="1094187" y="4920948"/>
              <a:ext cx="209369" cy="169651"/>
            </a:xfrm>
            <a:custGeom>
              <a:avLst/>
              <a:gdLst>
                <a:gd name="connsiteX0" fmla="*/ 455510 w 455510"/>
                <a:gd name="connsiteY0" fmla="*/ 514629 h 514629"/>
                <a:gd name="connsiteX1" fmla="*/ 455510 w 455510"/>
                <a:gd name="connsiteY1" fmla="*/ 227749 h 514629"/>
                <a:gd name="connsiteX2" fmla="*/ 454755 w 455510"/>
                <a:gd name="connsiteY2" fmla="*/ 209070 h 514629"/>
                <a:gd name="connsiteX3" fmla="*/ 443899 w 455510"/>
                <a:gd name="connsiteY3" fmla="*/ 155763 h 514629"/>
                <a:gd name="connsiteX4" fmla="*/ 421388 w 455510"/>
                <a:gd name="connsiteY4" fmla="*/ 107781 h 514629"/>
                <a:gd name="connsiteX5" fmla="*/ 388804 w 455510"/>
                <a:gd name="connsiteY5" fmla="*/ 66706 h 514629"/>
                <a:gd name="connsiteX6" fmla="*/ 347729 w 455510"/>
                <a:gd name="connsiteY6" fmla="*/ 34122 h 514629"/>
                <a:gd name="connsiteX7" fmla="*/ 299747 w 455510"/>
                <a:gd name="connsiteY7" fmla="*/ 11610 h 514629"/>
                <a:gd name="connsiteX8" fmla="*/ 246440 w 455510"/>
                <a:gd name="connsiteY8" fmla="*/ 754 h 514629"/>
                <a:gd name="connsiteX9" fmla="*/ 227761 w 455510"/>
                <a:gd name="connsiteY9" fmla="*/ 0 h 514629"/>
                <a:gd name="connsiteX10" fmla="*/ 209081 w 455510"/>
                <a:gd name="connsiteY10" fmla="*/ 754 h 514629"/>
                <a:gd name="connsiteX11" fmla="*/ 155769 w 455510"/>
                <a:gd name="connsiteY11" fmla="*/ 11610 h 514629"/>
                <a:gd name="connsiteX12" fmla="*/ 107784 w 455510"/>
                <a:gd name="connsiteY12" fmla="*/ 34122 h 514629"/>
                <a:gd name="connsiteX13" fmla="*/ 66708 w 455510"/>
                <a:gd name="connsiteY13" fmla="*/ 66706 h 514629"/>
                <a:gd name="connsiteX14" fmla="*/ 34122 w 455510"/>
                <a:gd name="connsiteY14" fmla="*/ 107781 h 514629"/>
                <a:gd name="connsiteX15" fmla="*/ 11611 w 455510"/>
                <a:gd name="connsiteY15" fmla="*/ 155763 h 514629"/>
                <a:gd name="connsiteX16" fmla="*/ 754 w 455510"/>
                <a:gd name="connsiteY16" fmla="*/ 209070 h 514629"/>
                <a:gd name="connsiteX17" fmla="*/ 0 w 455510"/>
                <a:gd name="connsiteY17" fmla="*/ 326536 h 5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5510" h="514629">
                  <a:moveTo>
                    <a:pt x="455510" y="514629"/>
                  </a:moveTo>
                  <a:lnTo>
                    <a:pt x="455510" y="227749"/>
                  </a:lnTo>
                  <a:cubicBezTo>
                    <a:pt x="455258" y="221523"/>
                    <a:pt x="455007" y="215296"/>
                    <a:pt x="454755" y="209070"/>
                  </a:cubicBezTo>
                  <a:lnTo>
                    <a:pt x="443899" y="155763"/>
                  </a:lnTo>
                  <a:lnTo>
                    <a:pt x="421388" y="107781"/>
                  </a:lnTo>
                  <a:lnTo>
                    <a:pt x="388804" y="66706"/>
                  </a:lnTo>
                  <a:lnTo>
                    <a:pt x="347729" y="34122"/>
                  </a:lnTo>
                  <a:lnTo>
                    <a:pt x="299747" y="11610"/>
                  </a:lnTo>
                  <a:lnTo>
                    <a:pt x="246440" y="754"/>
                  </a:lnTo>
                  <a:lnTo>
                    <a:pt x="227761" y="0"/>
                  </a:lnTo>
                  <a:lnTo>
                    <a:pt x="209081" y="754"/>
                  </a:lnTo>
                  <a:lnTo>
                    <a:pt x="155769" y="11610"/>
                  </a:lnTo>
                  <a:lnTo>
                    <a:pt x="107784" y="34122"/>
                  </a:lnTo>
                  <a:lnTo>
                    <a:pt x="66708" y="66706"/>
                  </a:lnTo>
                  <a:lnTo>
                    <a:pt x="34122" y="107781"/>
                  </a:lnTo>
                  <a:lnTo>
                    <a:pt x="11611" y="155763"/>
                  </a:lnTo>
                  <a:lnTo>
                    <a:pt x="754" y="209070"/>
                  </a:lnTo>
                  <a:cubicBezTo>
                    <a:pt x="503" y="215296"/>
                    <a:pt x="251" y="320310"/>
                    <a:pt x="0" y="326536"/>
                  </a:cubicBezTo>
                </a:path>
              </a:pathLst>
            </a:custGeom>
            <a:ln w="50800">
              <a:solidFill>
                <a:srgbClr val="4C8973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4000"/>
            </a:p>
          </p:txBody>
        </p:sp>
      </p:grpSp>
      <p:sp>
        <p:nvSpPr>
          <p:cNvPr id="19" name="object 37">
            <a:extLst>
              <a:ext uri="{FF2B5EF4-FFF2-40B4-BE49-F238E27FC236}">
                <a16:creationId xmlns:a16="http://schemas.microsoft.com/office/drawing/2014/main" id="{159B447E-3671-4D0D-9BC4-637993F970D6}"/>
              </a:ext>
            </a:extLst>
          </p:cNvPr>
          <p:cNvSpPr txBox="1"/>
          <p:nvPr/>
        </p:nvSpPr>
        <p:spPr>
          <a:xfrm>
            <a:off x="2595144" y="2340398"/>
            <a:ext cx="2301145" cy="47781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US" sz="2800" b="1" dirty="0">
                <a:solidFill>
                  <a:srgbClr val="4C897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ll Access</a:t>
            </a:r>
            <a:endParaRPr sz="2800" b="1" dirty="0">
              <a:solidFill>
                <a:srgbClr val="4C897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1A960D-DE43-40D2-BAE2-0EAE78A27ABF}"/>
              </a:ext>
            </a:extLst>
          </p:cNvPr>
          <p:cNvGrpSpPr/>
          <p:nvPr/>
        </p:nvGrpSpPr>
        <p:grpSpPr>
          <a:xfrm>
            <a:off x="2012032" y="3182531"/>
            <a:ext cx="310968" cy="431652"/>
            <a:chOff x="1019880" y="4920948"/>
            <a:chExt cx="357984" cy="496917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FFA6022A-680A-4682-BBCC-BEDFB7B9B3E1}"/>
                </a:ext>
              </a:extLst>
            </p:cNvPr>
            <p:cNvSpPr/>
            <p:nvPr/>
          </p:nvSpPr>
          <p:spPr>
            <a:xfrm>
              <a:off x="1019880" y="5090599"/>
              <a:ext cx="357984" cy="327266"/>
            </a:xfrm>
            <a:prstGeom prst="roundRect">
              <a:avLst>
                <a:gd name="adj" fmla="val 1830"/>
              </a:avLst>
            </a:prstGeom>
            <a:noFill/>
            <a:ln w="50800">
              <a:solidFill>
                <a:srgbClr val="7C216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/>
            </a:p>
          </p:txBody>
        </p:sp>
        <p:sp>
          <p:nvSpPr>
            <p:cNvPr id="22" name="object 82">
              <a:extLst>
                <a:ext uri="{FF2B5EF4-FFF2-40B4-BE49-F238E27FC236}">
                  <a16:creationId xmlns:a16="http://schemas.microsoft.com/office/drawing/2014/main" id="{CF309295-B2BB-40F0-B6B5-3362CA6F6524}"/>
                </a:ext>
              </a:extLst>
            </p:cNvPr>
            <p:cNvSpPr/>
            <p:nvPr/>
          </p:nvSpPr>
          <p:spPr>
            <a:xfrm>
              <a:off x="1162296" y="5217656"/>
              <a:ext cx="73152" cy="73152"/>
            </a:xfrm>
            <a:custGeom>
              <a:avLst/>
              <a:gdLst/>
              <a:ahLst/>
              <a:cxnLst/>
              <a:rect l="l" t="t" r="r" b="b"/>
              <a:pathLst>
                <a:path w="230647" h="230142">
                  <a:moveTo>
                    <a:pt x="110025" y="0"/>
                  </a:moveTo>
                  <a:lnTo>
                    <a:pt x="69980" y="9201"/>
                  </a:lnTo>
                  <a:lnTo>
                    <a:pt x="36611" y="31677"/>
                  </a:lnTo>
                  <a:lnTo>
                    <a:pt x="12639" y="65323"/>
                  </a:lnTo>
                  <a:lnTo>
                    <a:pt x="787" y="108032"/>
                  </a:lnTo>
                  <a:lnTo>
                    <a:pt x="0" y="123919"/>
                  </a:lnTo>
                  <a:lnTo>
                    <a:pt x="1825" y="137470"/>
                  </a:lnTo>
                  <a:lnTo>
                    <a:pt x="16467" y="174468"/>
                  </a:lnTo>
                  <a:lnTo>
                    <a:pt x="43500" y="203973"/>
                  </a:lnTo>
                  <a:lnTo>
                    <a:pt x="81184" y="223394"/>
                  </a:lnTo>
                  <a:lnTo>
                    <a:pt x="127779" y="230142"/>
                  </a:lnTo>
                  <a:lnTo>
                    <a:pt x="141956" y="227698"/>
                  </a:lnTo>
                  <a:lnTo>
                    <a:pt x="180160" y="210807"/>
                  </a:lnTo>
                  <a:lnTo>
                    <a:pt x="209528" y="181924"/>
                  </a:lnTo>
                  <a:lnTo>
                    <a:pt x="227044" y="144070"/>
                  </a:lnTo>
                  <a:lnTo>
                    <a:pt x="230647" y="115343"/>
                  </a:lnTo>
                  <a:lnTo>
                    <a:pt x="230626" y="113115"/>
                  </a:lnTo>
                  <a:lnTo>
                    <a:pt x="222207" y="72104"/>
                  </a:lnTo>
                  <a:lnTo>
                    <a:pt x="200231" y="37841"/>
                  </a:lnTo>
                  <a:lnTo>
                    <a:pt x="167154" y="13149"/>
                  </a:lnTo>
                  <a:lnTo>
                    <a:pt x="125430" y="854"/>
                  </a:lnTo>
                  <a:lnTo>
                    <a:pt x="110025" y="0"/>
                  </a:lnTo>
                  <a:close/>
                </a:path>
              </a:pathLst>
            </a:custGeom>
            <a:solidFill>
              <a:srgbClr val="7C216A"/>
            </a:solidFill>
            <a:ln w="50800">
              <a:solidFill>
                <a:srgbClr val="7C216A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4000" dirty="0"/>
            </a:p>
          </p:txBody>
        </p:sp>
        <p:sp>
          <p:nvSpPr>
            <p:cNvPr id="23" name="object 84">
              <a:extLst>
                <a:ext uri="{FF2B5EF4-FFF2-40B4-BE49-F238E27FC236}">
                  <a16:creationId xmlns:a16="http://schemas.microsoft.com/office/drawing/2014/main" id="{B991A0F2-CD4F-4A11-93D4-3B961FE32F64}"/>
                </a:ext>
              </a:extLst>
            </p:cNvPr>
            <p:cNvSpPr/>
            <p:nvPr/>
          </p:nvSpPr>
          <p:spPr>
            <a:xfrm>
              <a:off x="1094187" y="4920948"/>
              <a:ext cx="209369" cy="169651"/>
            </a:xfrm>
            <a:custGeom>
              <a:avLst/>
              <a:gdLst>
                <a:gd name="connsiteX0" fmla="*/ 455510 w 455510"/>
                <a:gd name="connsiteY0" fmla="*/ 514629 h 514629"/>
                <a:gd name="connsiteX1" fmla="*/ 455510 w 455510"/>
                <a:gd name="connsiteY1" fmla="*/ 227749 h 514629"/>
                <a:gd name="connsiteX2" fmla="*/ 454755 w 455510"/>
                <a:gd name="connsiteY2" fmla="*/ 209070 h 514629"/>
                <a:gd name="connsiteX3" fmla="*/ 443899 w 455510"/>
                <a:gd name="connsiteY3" fmla="*/ 155763 h 514629"/>
                <a:gd name="connsiteX4" fmla="*/ 421388 w 455510"/>
                <a:gd name="connsiteY4" fmla="*/ 107781 h 514629"/>
                <a:gd name="connsiteX5" fmla="*/ 388804 w 455510"/>
                <a:gd name="connsiteY5" fmla="*/ 66706 h 514629"/>
                <a:gd name="connsiteX6" fmla="*/ 347729 w 455510"/>
                <a:gd name="connsiteY6" fmla="*/ 34122 h 514629"/>
                <a:gd name="connsiteX7" fmla="*/ 299747 w 455510"/>
                <a:gd name="connsiteY7" fmla="*/ 11610 h 514629"/>
                <a:gd name="connsiteX8" fmla="*/ 246440 w 455510"/>
                <a:gd name="connsiteY8" fmla="*/ 754 h 514629"/>
                <a:gd name="connsiteX9" fmla="*/ 227761 w 455510"/>
                <a:gd name="connsiteY9" fmla="*/ 0 h 514629"/>
                <a:gd name="connsiteX10" fmla="*/ 209081 w 455510"/>
                <a:gd name="connsiteY10" fmla="*/ 754 h 514629"/>
                <a:gd name="connsiteX11" fmla="*/ 155769 w 455510"/>
                <a:gd name="connsiteY11" fmla="*/ 11610 h 514629"/>
                <a:gd name="connsiteX12" fmla="*/ 107784 w 455510"/>
                <a:gd name="connsiteY12" fmla="*/ 34122 h 514629"/>
                <a:gd name="connsiteX13" fmla="*/ 66708 w 455510"/>
                <a:gd name="connsiteY13" fmla="*/ 66706 h 514629"/>
                <a:gd name="connsiteX14" fmla="*/ 34122 w 455510"/>
                <a:gd name="connsiteY14" fmla="*/ 107781 h 514629"/>
                <a:gd name="connsiteX15" fmla="*/ 11611 w 455510"/>
                <a:gd name="connsiteY15" fmla="*/ 155763 h 514629"/>
                <a:gd name="connsiteX16" fmla="*/ 754 w 455510"/>
                <a:gd name="connsiteY16" fmla="*/ 209070 h 514629"/>
                <a:gd name="connsiteX17" fmla="*/ 0 w 455510"/>
                <a:gd name="connsiteY17" fmla="*/ 326536 h 51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5510" h="514629">
                  <a:moveTo>
                    <a:pt x="455510" y="514629"/>
                  </a:moveTo>
                  <a:lnTo>
                    <a:pt x="455510" y="227749"/>
                  </a:lnTo>
                  <a:cubicBezTo>
                    <a:pt x="455258" y="221523"/>
                    <a:pt x="455007" y="215296"/>
                    <a:pt x="454755" y="209070"/>
                  </a:cubicBezTo>
                  <a:lnTo>
                    <a:pt x="443899" y="155763"/>
                  </a:lnTo>
                  <a:lnTo>
                    <a:pt x="421388" y="107781"/>
                  </a:lnTo>
                  <a:lnTo>
                    <a:pt x="388804" y="66706"/>
                  </a:lnTo>
                  <a:lnTo>
                    <a:pt x="347729" y="34122"/>
                  </a:lnTo>
                  <a:lnTo>
                    <a:pt x="299747" y="11610"/>
                  </a:lnTo>
                  <a:lnTo>
                    <a:pt x="246440" y="754"/>
                  </a:lnTo>
                  <a:lnTo>
                    <a:pt x="227761" y="0"/>
                  </a:lnTo>
                  <a:lnTo>
                    <a:pt x="209081" y="754"/>
                  </a:lnTo>
                  <a:lnTo>
                    <a:pt x="155769" y="11610"/>
                  </a:lnTo>
                  <a:lnTo>
                    <a:pt x="107784" y="34122"/>
                  </a:lnTo>
                  <a:lnTo>
                    <a:pt x="66708" y="66706"/>
                  </a:lnTo>
                  <a:lnTo>
                    <a:pt x="34122" y="107781"/>
                  </a:lnTo>
                  <a:lnTo>
                    <a:pt x="11611" y="155763"/>
                  </a:lnTo>
                  <a:lnTo>
                    <a:pt x="754" y="209070"/>
                  </a:lnTo>
                  <a:cubicBezTo>
                    <a:pt x="503" y="215296"/>
                    <a:pt x="251" y="320310"/>
                    <a:pt x="0" y="326536"/>
                  </a:cubicBezTo>
                </a:path>
              </a:pathLst>
            </a:custGeom>
            <a:ln w="50800">
              <a:solidFill>
                <a:srgbClr val="7C216A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4000"/>
            </a:p>
          </p:txBody>
        </p:sp>
      </p:grpSp>
      <p:sp>
        <p:nvSpPr>
          <p:cNvPr id="24" name="object 37">
            <a:extLst>
              <a:ext uri="{FF2B5EF4-FFF2-40B4-BE49-F238E27FC236}">
                <a16:creationId xmlns:a16="http://schemas.microsoft.com/office/drawing/2014/main" id="{CE8CE1A6-9977-4E1D-A6AE-52413F506605}"/>
              </a:ext>
            </a:extLst>
          </p:cNvPr>
          <p:cNvSpPr txBox="1"/>
          <p:nvPr/>
        </p:nvSpPr>
        <p:spPr>
          <a:xfrm>
            <a:off x="2566056" y="3171449"/>
            <a:ext cx="2641203" cy="6098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lang="en-US" sz="2800" b="1" dirty="0">
                <a:solidFill>
                  <a:srgbClr val="7C21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n Access</a:t>
            </a:r>
            <a:endParaRPr sz="2800" b="1" dirty="0">
              <a:solidFill>
                <a:srgbClr val="7C21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B43716-4A1E-4F79-B7E8-E99F15B11577}"/>
              </a:ext>
            </a:extLst>
          </p:cNvPr>
          <p:cNvSpPr/>
          <p:nvPr/>
        </p:nvSpPr>
        <p:spPr>
          <a:xfrm>
            <a:off x="5333019" y="2005905"/>
            <a:ext cx="520452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200000"/>
              </a:lnSpc>
              <a:buClr>
                <a:srgbClr val="FFC000"/>
              </a:buClr>
            </a:pPr>
            <a:r>
              <a:rPr lang="zh-CN" altLang="en-US" sz="2800" dirty="0">
                <a:solidFill>
                  <a:srgbClr val="000000"/>
                </a:solidFill>
                <a:latin typeface="Open Sans" panose="020B0606030504020204" pitchFamily="34" charset="0"/>
                <a:ea typeface="Noto Sans CJK SC Regular" panose="020B0500000000000000" pitchFamily="34" charset="-128"/>
                <a:cs typeface="Open Sans" panose="020B0606030504020204" pitchFamily="34" charset="0"/>
              </a:rPr>
              <a:t>您的机构已经订购的内容</a:t>
            </a:r>
          </a:p>
          <a:p>
            <a:pPr lvl="0">
              <a:lnSpc>
                <a:spcPct val="200000"/>
              </a:lnSpc>
              <a:buClr>
                <a:srgbClr val="FFC000"/>
              </a:buClr>
            </a:pPr>
            <a:r>
              <a:rPr lang="zh-CN" altLang="en-US" sz="2800" dirty="0">
                <a:solidFill>
                  <a:srgbClr val="000000"/>
                </a:solidFill>
                <a:latin typeface="Open Sans" panose="020B0606030504020204" pitchFamily="34" charset="0"/>
                <a:ea typeface="Noto Sans CJK SC Regular" panose="020B0500000000000000" pitchFamily="34" charset="-128"/>
                <a:cs typeface="Open Sans" panose="020B0606030504020204" pitchFamily="34" charset="0"/>
              </a:rPr>
              <a:t>开放获取（</a:t>
            </a:r>
            <a:r>
              <a:rPr lang="en-US" altLang="zh-CN" sz="2800" dirty="0">
                <a:solidFill>
                  <a:srgbClr val="000000"/>
                </a:solidFill>
                <a:latin typeface="Open Sans" panose="020B0606030504020204" pitchFamily="34" charset="0"/>
                <a:ea typeface="Noto Sans CJK SC Regular" panose="020B0500000000000000" pitchFamily="34" charset="-128"/>
                <a:cs typeface="Open Sans" panose="020B0606030504020204" pitchFamily="34" charset="0"/>
              </a:rPr>
              <a:t>Open Access</a:t>
            </a:r>
            <a:r>
              <a:rPr lang="zh-CN" altLang="en-US" sz="2800" dirty="0">
                <a:solidFill>
                  <a:srgbClr val="000000"/>
                </a:solidFill>
                <a:latin typeface="Open Sans" panose="020B0606030504020204" pitchFamily="34" charset="0"/>
                <a:ea typeface="Noto Sans CJK SC Regular" panose="020B0500000000000000" pitchFamily="34" charset="-128"/>
                <a:cs typeface="Open Sans" panose="020B0606030504020204" pitchFamily="34" charset="0"/>
              </a:rPr>
              <a:t>）内容</a:t>
            </a:r>
          </a:p>
          <a:p>
            <a:pPr lvl="0">
              <a:lnSpc>
                <a:spcPct val="200000"/>
              </a:lnSpc>
              <a:buClr>
                <a:srgbClr val="FFC000"/>
              </a:buClr>
            </a:pPr>
            <a:r>
              <a:rPr lang="zh-CN" altLang="en-US" sz="2800" dirty="0">
                <a:solidFill>
                  <a:srgbClr val="000000"/>
                </a:solidFill>
                <a:latin typeface="Open Sans" panose="020B0606030504020204" pitchFamily="34" charset="0"/>
                <a:ea typeface="Noto Sans CJK SC Regular" panose="020B0500000000000000" pitchFamily="34" charset="-128"/>
                <a:cs typeface="Open Sans" panose="020B0606030504020204" pitchFamily="34" charset="0"/>
              </a:rPr>
              <a:t>所有用户均可免费访问的内容</a:t>
            </a:r>
            <a:endParaRPr lang="en-US" altLang="zh-CN" sz="2800" dirty="0">
              <a:solidFill>
                <a:srgbClr val="000000"/>
              </a:solidFill>
              <a:latin typeface="Open Sans" panose="020B0606030504020204" pitchFamily="34" charset="0"/>
              <a:ea typeface="Noto Sans CJK SC Regular" panose="020B0500000000000000" pitchFamily="34" charset="-128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5060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34B5410-80E4-4EBE-ADE2-D5CFF93918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7507"/>
          <a:stretch/>
        </p:blipFill>
        <p:spPr>
          <a:xfrm>
            <a:off x="0" y="667228"/>
            <a:ext cx="12192000" cy="71134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090331E-8C1F-4619-90F7-551C524C6AC2}"/>
              </a:ext>
            </a:extLst>
          </p:cNvPr>
          <p:cNvSpPr txBox="1"/>
          <p:nvPr/>
        </p:nvSpPr>
        <p:spPr>
          <a:xfrm>
            <a:off x="719348" y="317426"/>
            <a:ext cx="6605603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Wiley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期刊：期次界面（</a:t>
            </a: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Issue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）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D2900DE-CE5C-4B65-8A86-EB740A27F4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135299"/>
            <a:ext cx="12192000" cy="47227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38921D5-23BD-4865-8E5A-E0FB0D2207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8716" y="1201362"/>
            <a:ext cx="4980952" cy="88571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083BE72-7C3C-48B4-BF6F-4FD1CF8D26D6}"/>
              </a:ext>
            </a:extLst>
          </p:cNvPr>
          <p:cNvSpPr/>
          <p:nvPr/>
        </p:nvSpPr>
        <p:spPr>
          <a:xfrm>
            <a:off x="1600949" y="4639792"/>
            <a:ext cx="1278730" cy="414653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C8B9362-1C77-4289-A353-ACD5848CBFB3}"/>
              </a:ext>
            </a:extLst>
          </p:cNvPr>
          <p:cNvSpPr/>
          <p:nvPr/>
        </p:nvSpPr>
        <p:spPr>
          <a:xfrm>
            <a:off x="2879679" y="4652384"/>
            <a:ext cx="1659027" cy="31960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跳转功能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79925B-E884-44B0-894F-233F4C5B664F}"/>
              </a:ext>
            </a:extLst>
          </p:cNvPr>
          <p:cNvSpPr/>
          <p:nvPr/>
        </p:nvSpPr>
        <p:spPr>
          <a:xfrm>
            <a:off x="1521115" y="5670076"/>
            <a:ext cx="5803835" cy="509135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23B9A3-0FC7-4E33-9261-5DC79C85D284}"/>
              </a:ext>
            </a:extLst>
          </p:cNvPr>
          <p:cNvSpPr/>
          <p:nvPr/>
        </p:nvSpPr>
        <p:spPr>
          <a:xfrm>
            <a:off x="7324951" y="5670076"/>
            <a:ext cx="3072373" cy="492424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点击文章题目或下方链接进入文章界面</a:t>
            </a:r>
            <a:endParaRPr lang="en-US" sz="12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92676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6" grpId="0" animBg="1"/>
      <p:bldP spid="1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DCA866A-B5B6-4B37-814B-E5030D3E7C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4478"/>
          <a:stretch/>
        </p:blipFill>
        <p:spPr>
          <a:xfrm>
            <a:off x="0" y="658913"/>
            <a:ext cx="12192000" cy="85992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35301" y="260619"/>
            <a:ext cx="10292451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Wiley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期刊：文章界面（</a:t>
            </a: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Article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）</a:t>
            </a: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- HTML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B7D7C5-4BEB-43E3-BF11-1E117913BB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503112"/>
            <a:ext cx="12192000" cy="527172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64894DF-C146-44CD-8654-C41353012465}"/>
              </a:ext>
            </a:extLst>
          </p:cNvPr>
          <p:cNvSpPr/>
          <p:nvPr/>
        </p:nvSpPr>
        <p:spPr>
          <a:xfrm>
            <a:off x="5404601" y="3524256"/>
            <a:ext cx="2333679" cy="515483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FB6DA0A-DBFF-40FA-BA74-EB51EF167890}"/>
              </a:ext>
            </a:extLst>
          </p:cNvPr>
          <p:cNvSpPr/>
          <p:nvPr/>
        </p:nvSpPr>
        <p:spPr>
          <a:xfrm>
            <a:off x="1293715" y="5408682"/>
            <a:ext cx="2751807" cy="633676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点击查看该作者的信息与其发表的其他内容</a:t>
            </a:r>
            <a:endParaRPr lang="en-US" sz="12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Left Arrow 12">
            <a:extLst>
              <a:ext uri="{FF2B5EF4-FFF2-40B4-BE49-F238E27FC236}">
                <a16:creationId xmlns:a16="http://schemas.microsoft.com/office/drawing/2014/main" id="{35073F3B-F7F3-46B3-A9F1-97079E663224}"/>
              </a:ext>
            </a:extLst>
          </p:cNvPr>
          <p:cNvSpPr/>
          <p:nvPr/>
        </p:nvSpPr>
        <p:spPr>
          <a:xfrm rot="16200000">
            <a:off x="7243358" y="3153256"/>
            <a:ext cx="460857" cy="245366"/>
          </a:xfrm>
          <a:prstGeom prst="leftArrow">
            <a:avLst>
              <a:gd name="adj1" fmla="val 50000"/>
              <a:gd name="adj2" fmla="val 82197"/>
            </a:avLst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B1FCA4-873B-42B6-9698-C0CB98801B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4711" y="2862784"/>
            <a:ext cx="3485714" cy="2552381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ED6F43E0-C0B4-44BB-B14A-7DF04ADB2A39}"/>
              </a:ext>
            </a:extLst>
          </p:cNvPr>
          <p:cNvSpPr/>
          <p:nvPr/>
        </p:nvSpPr>
        <p:spPr>
          <a:xfrm>
            <a:off x="1293715" y="2862784"/>
            <a:ext cx="3504666" cy="2552381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D5C419-27F9-43FD-9DC2-D05429D49E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3293"/>
          <a:stretch/>
        </p:blipFill>
        <p:spPr>
          <a:xfrm>
            <a:off x="7803061" y="2299691"/>
            <a:ext cx="3209524" cy="4558309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1837C25E-71D6-415E-A81B-597078A224E2}"/>
              </a:ext>
            </a:extLst>
          </p:cNvPr>
          <p:cNvSpPr/>
          <p:nvPr/>
        </p:nvSpPr>
        <p:spPr>
          <a:xfrm>
            <a:off x="9636681" y="1619775"/>
            <a:ext cx="2555319" cy="633676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查看相关文献及信息</a:t>
            </a:r>
            <a:endParaRPr lang="en-US" sz="12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2683D7D-CF9C-4BF5-95C2-CD90362E25A6}"/>
              </a:ext>
            </a:extLst>
          </p:cNvPr>
          <p:cNvSpPr/>
          <p:nvPr/>
        </p:nvSpPr>
        <p:spPr>
          <a:xfrm>
            <a:off x="7803061" y="2253451"/>
            <a:ext cx="3209524" cy="4622327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CB7183-5643-40F2-9C92-6B99A2111A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5784" y="2309210"/>
            <a:ext cx="3017520" cy="535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56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35301" y="260619"/>
            <a:ext cx="10292451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Wiley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期刊：文章界面（</a:t>
            </a: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Article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）</a:t>
            </a: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- HTML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14B0C7-8A66-4144-930D-6B037FA081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093" y="1109816"/>
            <a:ext cx="4752508" cy="374526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8ACE03E0-885A-45E8-B036-6E4D9B224E2F}"/>
              </a:ext>
            </a:extLst>
          </p:cNvPr>
          <p:cNvSpPr/>
          <p:nvPr/>
        </p:nvSpPr>
        <p:spPr>
          <a:xfrm>
            <a:off x="3655461" y="1995323"/>
            <a:ext cx="1053018" cy="376635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获得许可</a:t>
            </a:r>
            <a:endParaRPr lang="en-US" sz="12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F95EAF1-1B82-481E-9B8B-AB243969FAC1}"/>
              </a:ext>
            </a:extLst>
          </p:cNvPr>
          <p:cNvSpPr/>
          <p:nvPr/>
        </p:nvSpPr>
        <p:spPr>
          <a:xfrm>
            <a:off x="3655461" y="2698593"/>
            <a:ext cx="1053018" cy="376635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导出引用</a:t>
            </a:r>
            <a:endParaRPr lang="en-US" sz="12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E7F528-8099-4F49-8E1C-B16B140A09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0521" y="1685599"/>
            <a:ext cx="4599515" cy="3350425"/>
          </a:xfrm>
          <a:prstGeom prst="rect">
            <a:avLst/>
          </a:prstGeom>
        </p:spPr>
      </p:pic>
      <p:sp>
        <p:nvSpPr>
          <p:cNvPr id="23" name="Left Arrow 12">
            <a:extLst>
              <a:ext uri="{FF2B5EF4-FFF2-40B4-BE49-F238E27FC236}">
                <a16:creationId xmlns:a16="http://schemas.microsoft.com/office/drawing/2014/main" id="{C65EB42E-48E1-4924-A09B-1C1C4C660776}"/>
              </a:ext>
            </a:extLst>
          </p:cNvPr>
          <p:cNvSpPr/>
          <p:nvPr/>
        </p:nvSpPr>
        <p:spPr>
          <a:xfrm rot="10800000">
            <a:off x="4708477" y="2764225"/>
            <a:ext cx="532043" cy="311002"/>
          </a:xfrm>
          <a:prstGeom prst="leftArrow">
            <a:avLst>
              <a:gd name="adj1" fmla="val 50000"/>
              <a:gd name="adj2" fmla="val 82197"/>
            </a:avLst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173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35301" y="260619"/>
            <a:ext cx="10292451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Wiley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期刊：文章界面（</a:t>
            </a: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Article</a:t>
            </a: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）</a:t>
            </a:r>
            <a:r>
              <a:rPr lang="en-US" altLang="zh-CN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- PDF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37A0A9-7963-4B5B-81C3-0A09B665C2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32315"/>
            <a:ext cx="12192000" cy="562568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88CA0BE-2232-4B10-8603-57DD44CE4348}"/>
              </a:ext>
            </a:extLst>
          </p:cNvPr>
          <p:cNvSpPr/>
          <p:nvPr/>
        </p:nvSpPr>
        <p:spPr>
          <a:xfrm>
            <a:off x="4108299" y="1220846"/>
            <a:ext cx="1152140" cy="315743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7A160FB-DA7B-44DE-82BC-B48884608352}"/>
              </a:ext>
            </a:extLst>
          </p:cNvPr>
          <p:cNvSpPr/>
          <p:nvPr/>
        </p:nvSpPr>
        <p:spPr>
          <a:xfrm>
            <a:off x="4108299" y="892429"/>
            <a:ext cx="1830592" cy="28589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下载文章到本地</a:t>
            </a:r>
            <a:endParaRPr lang="en-US" sz="12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A93032A-5E06-4EC2-A6B4-CA2638B1F8ED}"/>
              </a:ext>
            </a:extLst>
          </p:cNvPr>
          <p:cNvSpPr/>
          <p:nvPr/>
        </p:nvSpPr>
        <p:spPr>
          <a:xfrm>
            <a:off x="10243704" y="3274276"/>
            <a:ext cx="1830592" cy="3044637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61C6774-D73B-43F1-A96F-559984F45278}"/>
              </a:ext>
            </a:extLst>
          </p:cNvPr>
          <p:cNvSpPr/>
          <p:nvPr/>
        </p:nvSpPr>
        <p:spPr>
          <a:xfrm>
            <a:off x="10243704" y="2988381"/>
            <a:ext cx="1830592" cy="28589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其他实用功能</a:t>
            </a:r>
            <a:endParaRPr lang="en-US" sz="12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225049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64273" y="324549"/>
            <a:ext cx="7547214" cy="461637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kern="0" dirty="0">
                <a:solidFill>
                  <a:srgbClr val="FF3300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更加强大的检索功能帮助您找到所需资源</a:t>
            </a:r>
            <a:endParaRPr lang="en-US" sz="2400" b="1" kern="0" dirty="0">
              <a:solidFill>
                <a:srgbClr val="FF3300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6DE308-0CE0-4613-AED0-BF509E93B1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730"/>
          <a:stretch/>
        </p:blipFill>
        <p:spPr>
          <a:xfrm>
            <a:off x="0" y="822178"/>
            <a:ext cx="12192000" cy="5360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7456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2C45248-DFD1-454E-B64C-7B5D9B9406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4200"/>
            <a:ext cx="12192000" cy="570257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07412" y="87799"/>
            <a:ext cx="8752245" cy="646303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kern="0" dirty="0">
                <a:solidFill>
                  <a:srgbClr val="FF6C11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按照不同条件筛选检索结果</a:t>
            </a:r>
            <a:endParaRPr lang="en-US" sz="2400" b="1" kern="0" dirty="0">
              <a:solidFill>
                <a:srgbClr val="FF6C11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140E2C-6B19-4E19-A658-CBE8882E1CAE}"/>
              </a:ext>
            </a:extLst>
          </p:cNvPr>
          <p:cNvSpPr/>
          <p:nvPr/>
        </p:nvSpPr>
        <p:spPr>
          <a:xfrm>
            <a:off x="3757295" y="1809613"/>
            <a:ext cx="5127397" cy="414653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CB85CD-3693-48EE-B3D0-4A9ACF8FF12D}"/>
              </a:ext>
            </a:extLst>
          </p:cNvPr>
          <p:cNvSpPr/>
          <p:nvPr/>
        </p:nvSpPr>
        <p:spPr>
          <a:xfrm>
            <a:off x="8898346" y="1822205"/>
            <a:ext cx="1659027" cy="31960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检索数量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AA4672-19FB-4049-BDB7-5CAAE19A3D1A}"/>
              </a:ext>
            </a:extLst>
          </p:cNvPr>
          <p:cNvSpPr/>
          <p:nvPr/>
        </p:nvSpPr>
        <p:spPr>
          <a:xfrm>
            <a:off x="3757296" y="2294208"/>
            <a:ext cx="2124890" cy="332195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1ED080-0AD7-49DE-A660-ACF4A68A8039}"/>
              </a:ext>
            </a:extLst>
          </p:cNvPr>
          <p:cNvSpPr/>
          <p:nvPr/>
        </p:nvSpPr>
        <p:spPr>
          <a:xfrm>
            <a:off x="5882186" y="2306800"/>
            <a:ext cx="2210936" cy="31960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保存检索条件与订阅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F3EE572-BE66-41B8-846A-3B03FBBECFB5}"/>
              </a:ext>
            </a:extLst>
          </p:cNvPr>
          <p:cNvSpPr/>
          <p:nvPr/>
        </p:nvSpPr>
        <p:spPr>
          <a:xfrm>
            <a:off x="3757296" y="3442896"/>
            <a:ext cx="2124890" cy="569547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5AE4DB3-9D92-409E-B0A3-CBD5CB4B4641}"/>
              </a:ext>
            </a:extLst>
          </p:cNvPr>
          <p:cNvSpPr/>
          <p:nvPr/>
        </p:nvSpPr>
        <p:spPr>
          <a:xfrm>
            <a:off x="5882186" y="3455488"/>
            <a:ext cx="2210936" cy="31960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优化检索条件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89BF4DE-4CDD-4A95-A564-4A8CA1C3D86B}"/>
              </a:ext>
            </a:extLst>
          </p:cNvPr>
          <p:cNvSpPr/>
          <p:nvPr/>
        </p:nvSpPr>
        <p:spPr>
          <a:xfrm>
            <a:off x="8797212" y="3373600"/>
            <a:ext cx="1896641" cy="569547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BFD147-8E0C-4FF8-9204-F706C2C3D634}"/>
              </a:ext>
            </a:extLst>
          </p:cNvPr>
          <p:cNvSpPr/>
          <p:nvPr/>
        </p:nvSpPr>
        <p:spPr>
          <a:xfrm>
            <a:off x="8797212" y="3943147"/>
            <a:ext cx="2210936" cy="719225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可以按照相关性，出版物或出版日期进行排列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0625C77-05B2-4698-9A85-E129D06F2ABE}"/>
              </a:ext>
            </a:extLst>
          </p:cNvPr>
          <p:cNvSpPr/>
          <p:nvPr/>
        </p:nvSpPr>
        <p:spPr>
          <a:xfrm>
            <a:off x="1310828" y="3408429"/>
            <a:ext cx="2346772" cy="3278350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D9C765D-632A-4DE6-944A-BC3C839A6F01}"/>
              </a:ext>
            </a:extLst>
          </p:cNvPr>
          <p:cNvSpPr/>
          <p:nvPr/>
        </p:nvSpPr>
        <p:spPr>
          <a:xfrm>
            <a:off x="3657600" y="5967554"/>
            <a:ext cx="2210936" cy="719225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按照条件对检索结果进行筛选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692342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107412" y="87799"/>
            <a:ext cx="8752245" cy="581028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pPr defTabSz="1029957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kern="0" dirty="0">
                <a:solidFill>
                  <a:srgbClr val="FF6C11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筛选条件</a:t>
            </a:r>
            <a:endParaRPr lang="en-US" sz="2400" b="1" kern="0" dirty="0">
              <a:solidFill>
                <a:srgbClr val="FF6C11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92587F-487C-4737-ABBA-4EEC4B7023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060" y="935377"/>
            <a:ext cx="2800000" cy="491428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FAE7D5F-5CD7-4B97-8591-7A8BF20E27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3134" y="935377"/>
            <a:ext cx="2752381" cy="40952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E191FAB-E725-45AF-A1D4-966D9BFB02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4589" y="935377"/>
            <a:ext cx="2790476" cy="519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892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4" name="Text Placeholder 3"/>
          <p:cNvSpPr txBox="1">
            <a:spLocks/>
          </p:cNvSpPr>
          <p:nvPr/>
        </p:nvSpPr>
        <p:spPr>
          <a:xfrm>
            <a:off x="923543" y="409575"/>
            <a:ext cx="10472337" cy="33832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全球领先的学协会出版商</a:t>
            </a:r>
          </a:p>
        </p:txBody>
      </p:sp>
      <p:pic>
        <p:nvPicPr>
          <p:cNvPr id="55" name="Picture 4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5320" y="4976591"/>
            <a:ext cx="935992" cy="612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4" descr="New York Academy of Sciences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57655" y="1191267"/>
            <a:ext cx="2124000" cy="4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5" descr="febslogo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8225" y="3361942"/>
            <a:ext cx="719811" cy="721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6" descr="lslogo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9079" y="1804917"/>
            <a:ext cx="779462" cy="77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7" descr="BAM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65655" y="5034923"/>
            <a:ext cx="1908000" cy="490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9" descr="SRCD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5168" y="5053813"/>
            <a:ext cx="1224000" cy="452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10" descr="APSlogo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3512" y="2704372"/>
            <a:ext cx="96043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11" descr="ASDS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3594" y="1172316"/>
            <a:ext cx="1211263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12" descr="ISS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8749" y="4277955"/>
            <a:ext cx="969963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13" descr="reslogo2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7393" y="1112506"/>
            <a:ext cx="631677" cy="627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14" descr="reslogo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2875" y="4185880"/>
            <a:ext cx="620712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15" descr="fenslogo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0007" y="5053168"/>
            <a:ext cx="5651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16" descr="ncfr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3858" y="1950219"/>
            <a:ext cx="1170734" cy="488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18" descr="BSIlogo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7563" y="3549924"/>
            <a:ext cx="12033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19" descr="isa-logo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35345" y="3445940"/>
            <a:ext cx="896770" cy="57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22" descr="fsbi_logo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5406" y="4959505"/>
            <a:ext cx="75565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23" descr="rss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2934" y="2599564"/>
            <a:ext cx="1080595" cy="701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24" descr="sfam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4087" y="2692930"/>
            <a:ext cx="1046162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26" descr="risklogo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0200" y="2726597"/>
            <a:ext cx="74930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27" descr="ASTSlogo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2898" y="1207587"/>
            <a:ext cx="1110082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28" descr="ACG-LogoAug05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6634" y="1918697"/>
            <a:ext cx="553195" cy="551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9" descr="www.gdch.de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9242" y="1193747"/>
            <a:ext cx="73025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30" descr="AICHE Generic Spotlight Logo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10045" y="5077968"/>
            <a:ext cx="1080000" cy="389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31" descr="American Cancer Society">
            <a:hlinkClick r:id="rId25"/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5893" y="1138979"/>
            <a:ext cx="95567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32" descr="American Neurological Association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4294" y="3388793"/>
            <a:ext cx="777875" cy="68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33" descr="AAA Logo &amp; Header image; Links to AAA Home"/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39655" y="3534486"/>
            <a:ext cx="2160000" cy="3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35" descr="American Ceramic Society (ACES)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73712" y="4193818"/>
            <a:ext cx="13001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38" descr="http://www.itc.nl/Images/library/blog/agu_journals.jp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3393" y="4193024"/>
            <a:ext cx="1290638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37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845580" y="1930329"/>
            <a:ext cx="876300" cy="528638"/>
          </a:xfrm>
          <a:prstGeom prst="rect">
            <a:avLst/>
          </a:prstGeom>
          <a:solidFill>
            <a:srgbClr val="44546A">
              <a:lumMod val="75000"/>
            </a:srgbClr>
          </a:solidFill>
        </p:spPr>
      </p:pic>
      <p:pic>
        <p:nvPicPr>
          <p:cNvPr id="84" name="Picture 38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39655" y="4373526"/>
            <a:ext cx="2160000" cy="247009"/>
          </a:xfrm>
          <a:prstGeom prst="rect">
            <a:avLst/>
          </a:prstGeom>
          <a:solidFill>
            <a:srgbClr val="44546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39" descr="Screen Shot 2014-04-16 at 6.49.59 pm.png"/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2293" y="2701990"/>
            <a:ext cx="11430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40"/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0921" y="1923212"/>
            <a:ext cx="1152000" cy="542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41" descr="TableGroup250.gif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80649" y="2018436"/>
            <a:ext cx="1878013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43" descr="ccs_blau.JP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6630" y="4189461"/>
            <a:ext cx="842870" cy="61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88" descr="Screen Shot 2014-10-23 at 11.04.07 am.png"/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1761" y="2694847"/>
            <a:ext cx="1855788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48" descr="societies_compined_logo-small.jpg"/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4291" y="3436772"/>
            <a:ext cx="1099005" cy="591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1" name="组合 176"/>
          <p:cNvGrpSpPr/>
          <p:nvPr/>
        </p:nvGrpSpPr>
        <p:grpSpPr>
          <a:xfrm>
            <a:off x="1270309" y="1041907"/>
            <a:ext cx="9144000" cy="4639152"/>
            <a:chOff x="15615" y="1473413"/>
            <a:chExt cx="9144000" cy="4308988"/>
          </a:xfrm>
        </p:grpSpPr>
        <p:cxnSp>
          <p:nvCxnSpPr>
            <p:cNvPr id="92" name="直接连接符 177"/>
            <p:cNvCxnSpPr/>
            <p:nvPr/>
          </p:nvCxnSpPr>
          <p:spPr>
            <a:xfrm flipV="1">
              <a:off x="15615" y="1473413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93" name="直接连接符 178"/>
            <p:cNvCxnSpPr/>
            <p:nvPr/>
          </p:nvCxnSpPr>
          <p:spPr>
            <a:xfrm flipV="1">
              <a:off x="15615" y="2176657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94" name="直接连接符 179"/>
            <p:cNvCxnSpPr/>
            <p:nvPr/>
          </p:nvCxnSpPr>
          <p:spPr>
            <a:xfrm flipV="1">
              <a:off x="15615" y="2894861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95" name="直接连接符 180"/>
            <p:cNvCxnSpPr/>
            <p:nvPr/>
          </p:nvCxnSpPr>
          <p:spPr>
            <a:xfrm flipV="1">
              <a:off x="15615" y="3598105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96" name="直接连接符 181"/>
            <p:cNvCxnSpPr/>
            <p:nvPr/>
          </p:nvCxnSpPr>
          <p:spPr>
            <a:xfrm flipV="1">
              <a:off x="15615" y="4335503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97" name="直接连接符 182"/>
            <p:cNvCxnSpPr/>
            <p:nvPr/>
          </p:nvCxnSpPr>
          <p:spPr>
            <a:xfrm flipV="1">
              <a:off x="15615" y="5038747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98" name="直接连接符 183"/>
            <p:cNvCxnSpPr/>
            <p:nvPr/>
          </p:nvCxnSpPr>
          <p:spPr>
            <a:xfrm flipV="1">
              <a:off x="15615" y="5782401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99" name="直接连接符 184"/>
            <p:cNvCxnSpPr/>
            <p:nvPr/>
          </p:nvCxnSpPr>
          <p:spPr>
            <a:xfrm rot="5400000" flipV="1">
              <a:off x="-905354" y="3621682"/>
              <a:ext cx="428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100" name="直接连接符 185"/>
            <p:cNvCxnSpPr/>
            <p:nvPr/>
          </p:nvCxnSpPr>
          <p:spPr>
            <a:xfrm rot="5400000" flipV="1">
              <a:off x="1549570" y="3621682"/>
              <a:ext cx="428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101" name="直接连接符 186"/>
            <p:cNvCxnSpPr/>
            <p:nvPr/>
          </p:nvCxnSpPr>
          <p:spPr>
            <a:xfrm rot="5400000" flipV="1">
              <a:off x="172463" y="3621682"/>
              <a:ext cx="428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102" name="直接连接符 187"/>
            <p:cNvCxnSpPr/>
            <p:nvPr/>
          </p:nvCxnSpPr>
          <p:spPr>
            <a:xfrm rot="5400000" flipV="1">
              <a:off x="3156194" y="3621682"/>
              <a:ext cx="428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  <p:cxnSp>
          <p:nvCxnSpPr>
            <p:cNvPr id="103" name="直接连接符 188"/>
            <p:cNvCxnSpPr/>
            <p:nvPr/>
          </p:nvCxnSpPr>
          <p:spPr>
            <a:xfrm rot="5400000" flipV="1">
              <a:off x="4564514" y="3621682"/>
              <a:ext cx="4284000" cy="0"/>
            </a:xfrm>
            <a:prstGeom prst="line">
              <a:avLst/>
            </a:prstGeom>
            <a:noFill/>
            <a:ln w="3175" cap="flat" cmpd="sng" algn="ctr">
              <a:solidFill>
                <a:srgbClr val="00A2A7">
                  <a:alpha val="90000"/>
                </a:srgbClr>
              </a:solidFill>
              <a:prstDash val="dash"/>
              <a:miter lim="800000"/>
            </a:ln>
            <a:effectLst/>
          </p:spPr>
        </p:cxnSp>
      </p:grpSp>
      <p:sp>
        <p:nvSpPr>
          <p:cNvPr id="104" name="TextBox 103"/>
          <p:cNvSpPr txBox="1"/>
          <p:nvPr/>
        </p:nvSpPr>
        <p:spPr>
          <a:xfrm>
            <a:off x="441120" y="5850785"/>
            <a:ext cx="66824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itchFamily="34" charset="-122"/>
                <a:ea typeface="Microsoft YaHei" pitchFamily="34" charset="-122"/>
              </a:rPr>
              <a:t>*本页列举为部分合作学会和专业协会，更多详情，欢迎访问：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itchFamily="34" charset="-122"/>
                <a:ea typeface="Microsoft YaHei" pitchFamily="34" charset="-122"/>
              </a:rPr>
              <a:t>http://onlinelibrary.wiley.com/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Microsoft YaHei" pitchFamily="34" charset="-122"/>
              <a:ea typeface="Microsoft YaHei" pitchFamily="34" charset="-122"/>
            </a:endParaRPr>
          </a:p>
        </p:txBody>
      </p:sp>
      <p:cxnSp>
        <p:nvCxnSpPr>
          <p:cNvPr id="106" name="Straight Connector 105"/>
          <p:cNvCxnSpPr/>
          <p:nvPr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12887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030605" y="2032784"/>
            <a:ext cx="2571103" cy="806498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1DFA95-CCB1-4A12-8B53-5EC0B66C77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215"/>
          <a:stretch/>
        </p:blipFill>
        <p:spPr>
          <a:xfrm>
            <a:off x="0" y="-4"/>
            <a:ext cx="12192000" cy="441189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4F7F14A-AAA9-4812-AEF6-ECC9B0B9618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1431"/>
          <a:stretch/>
        </p:blipFill>
        <p:spPr>
          <a:xfrm>
            <a:off x="0" y="3967925"/>
            <a:ext cx="12192000" cy="28900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B5865EA-90EE-45E8-9F8C-60F4DB80E081}"/>
              </a:ext>
            </a:extLst>
          </p:cNvPr>
          <p:cNvSpPr/>
          <p:nvPr/>
        </p:nvSpPr>
        <p:spPr>
          <a:xfrm>
            <a:off x="1833933" y="218521"/>
            <a:ext cx="2124890" cy="332195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1F2568-23A6-4A18-8B1E-1DC26B16E1DB}"/>
              </a:ext>
            </a:extLst>
          </p:cNvPr>
          <p:cNvSpPr/>
          <p:nvPr/>
        </p:nvSpPr>
        <p:spPr>
          <a:xfrm>
            <a:off x="559557" y="225494"/>
            <a:ext cx="1274375" cy="31960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高级检索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BF5D6D7-8175-410D-A152-091B32D1AC67}"/>
              </a:ext>
            </a:extLst>
          </p:cNvPr>
          <p:cNvSpPr/>
          <p:nvPr/>
        </p:nvSpPr>
        <p:spPr>
          <a:xfrm>
            <a:off x="5070726" y="204823"/>
            <a:ext cx="2124890" cy="332195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DF0584-3B22-4D0C-8DD9-D47C7139AEB7}"/>
              </a:ext>
            </a:extLst>
          </p:cNvPr>
          <p:cNvSpPr/>
          <p:nvPr/>
        </p:nvSpPr>
        <p:spPr>
          <a:xfrm>
            <a:off x="7195616" y="204823"/>
            <a:ext cx="1274375" cy="31960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引文检索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C114150-F35D-408B-9716-249D13498741}"/>
              </a:ext>
            </a:extLst>
          </p:cNvPr>
          <p:cNvSpPr/>
          <p:nvPr/>
        </p:nvSpPr>
        <p:spPr>
          <a:xfrm>
            <a:off x="7720667" y="916782"/>
            <a:ext cx="1218617" cy="332195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B9E4FDF-990A-4DDD-A67E-3129B8BD6E3D}"/>
              </a:ext>
            </a:extLst>
          </p:cNvPr>
          <p:cNvSpPr/>
          <p:nvPr/>
        </p:nvSpPr>
        <p:spPr>
          <a:xfrm>
            <a:off x="8939284" y="916782"/>
            <a:ext cx="1274375" cy="31960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检索技巧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7A3688-56CC-49E6-93D7-BBDF1221CC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6407" y="1413654"/>
            <a:ext cx="1276190" cy="168571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F2BAC6D-ACFC-4A8A-879F-54442B754954}"/>
              </a:ext>
            </a:extLst>
          </p:cNvPr>
          <p:cNvSpPr/>
          <p:nvPr/>
        </p:nvSpPr>
        <p:spPr>
          <a:xfrm>
            <a:off x="1543980" y="3458412"/>
            <a:ext cx="5845208" cy="332195"/>
          </a:xfrm>
          <a:prstGeom prst="rect">
            <a:avLst/>
          </a:prstGeom>
          <a:noFill/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5F23CE-B679-4E97-AD44-307FAE5C4061}"/>
              </a:ext>
            </a:extLst>
          </p:cNvPr>
          <p:cNvSpPr/>
          <p:nvPr/>
        </p:nvSpPr>
        <p:spPr>
          <a:xfrm>
            <a:off x="7389188" y="3471004"/>
            <a:ext cx="1274375" cy="319603"/>
          </a:xfrm>
          <a:prstGeom prst="rect">
            <a:avLst/>
          </a:prstGeom>
          <a:solidFill>
            <a:srgbClr val="FF6C11"/>
          </a:solidFill>
          <a:ln>
            <a:solidFill>
              <a:srgbClr val="FF6C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 defTabSz="1029957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指定期刊</a:t>
            </a:r>
            <a:endParaRPr lang="en-US" sz="14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51264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 animBg="1"/>
      <p:bldP spid="1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3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auto">
          <a:xfrm>
            <a:off x="0" y="0"/>
            <a:ext cx="12192000" cy="6182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0" y="-6038"/>
            <a:ext cx="12192000" cy="6188474"/>
          </a:xfrm>
          <a:prstGeom prst="rect">
            <a:avLst/>
          </a:prstGeom>
          <a:gradFill>
            <a:gsLst>
              <a:gs pos="50000">
                <a:srgbClr val="03816F">
                  <a:alpha val="70000"/>
                </a:srgbClr>
              </a:gs>
              <a:gs pos="100000">
                <a:schemeClr val="accent6">
                  <a:alpha val="0"/>
                </a:schemeClr>
              </a:gs>
              <a:gs pos="0">
                <a:srgbClr val="059568">
                  <a:alpha val="70000"/>
                </a:srgbClr>
              </a:gs>
              <a:gs pos="0">
                <a:srgbClr val="059169"/>
              </a:gs>
              <a:gs pos="0">
                <a:srgbClr val="07A163"/>
              </a:gs>
              <a:gs pos="0">
                <a:srgbClr val="069F64"/>
              </a:gs>
              <a:gs pos="0">
                <a:srgbClr val="069C65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591935" y="2880603"/>
            <a:ext cx="480131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40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国际论文写作与发表</a:t>
            </a:r>
            <a:endParaRPr lang="en-US" sz="4000" b="1" dirty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164845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12648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-6038"/>
            <a:ext cx="12192000" cy="6134100"/>
          </a:xfrm>
          <a:prstGeom prst="rect">
            <a:avLst/>
          </a:prstGeom>
          <a:gradFill>
            <a:gsLst>
              <a:gs pos="100000">
                <a:schemeClr val="accent6">
                  <a:alpha val="70000"/>
                </a:schemeClr>
              </a:gs>
              <a:gs pos="0">
                <a:srgbClr val="059568">
                  <a:alpha val="70000"/>
                </a:srgbClr>
              </a:gs>
              <a:gs pos="0">
                <a:srgbClr val="059169"/>
              </a:gs>
              <a:gs pos="0">
                <a:srgbClr val="07A163"/>
              </a:gs>
              <a:gs pos="0">
                <a:srgbClr val="069F64"/>
              </a:gs>
              <a:gs pos="0">
                <a:srgbClr val="069C65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532498" y="572254"/>
            <a:ext cx="573746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ey</a:t>
            </a:r>
            <a:r>
              <a:rPr lang="zh-CN" altLang="en-US" sz="40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国际期刊出版流程</a:t>
            </a:r>
            <a:endParaRPr lang="en-US" sz="40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32378" y="686571"/>
            <a:ext cx="0" cy="4572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/>
        </p:nvGrpSpPr>
        <p:grpSpPr>
          <a:xfrm>
            <a:off x="2458243" y="1553999"/>
            <a:ext cx="6584732" cy="4954202"/>
            <a:chOff x="2458243" y="1294687"/>
            <a:chExt cx="6584732" cy="4954202"/>
          </a:xfrm>
        </p:grpSpPr>
        <p:grpSp>
          <p:nvGrpSpPr>
            <p:cNvPr id="9" name="Group 8"/>
            <p:cNvGrpSpPr/>
            <p:nvPr/>
          </p:nvGrpSpPr>
          <p:grpSpPr>
            <a:xfrm>
              <a:off x="2985472" y="2331613"/>
              <a:ext cx="5567845" cy="3917276"/>
              <a:chOff x="1798096" y="1758397"/>
              <a:chExt cx="5567845" cy="3917276"/>
            </a:xfrm>
          </p:grpSpPr>
          <p:cxnSp>
            <p:nvCxnSpPr>
              <p:cNvPr id="10" name="Straight Connector 9"/>
              <p:cNvCxnSpPr/>
              <p:nvPr/>
            </p:nvCxnSpPr>
            <p:spPr>
              <a:xfrm>
                <a:off x="4427982" y="1758397"/>
                <a:ext cx="0" cy="633677"/>
              </a:xfrm>
              <a:prstGeom prst="line">
                <a:avLst/>
              </a:prstGeom>
              <a:noFill/>
              <a:ln w="76200" cap="flat" cmpd="sng" algn="ctr">
                <a:solidFill>
                  <a:schemeClr val="bg1"/>
                </a:solidFill>
                <a:prstDash val="solid"/>
              </a:ln>
              <a:effectLst/>
            </p:spPr>
          </p:cxnSp>
          <p:cxnSp>
            <p:nvCxnSpPr>
              <p:cNvPr id="11" name="Straight Connector 10"/>
              <p:cNvCxnSpPr/>
              <p:nvPr/>
            </p:nvCxnSpPr>
            <p:spPr>
              <a:xfrm rot="16200000" flipV="1">
                <a:off x="5119267" y="2329414"/>
                <a:ext cx="0" cy="633677"/>
              </a:xfrm>
              <a:prstGeom prst="line">
                <a:avLst/>
              </a:prstGeom>
              <a:noFill/>
              <a:ln w="76200" cap="flat" cmpd="sng" algn="ctr">
                <a:solidFill>
                  <a:schemeClr val="bg1"/>
                </a:solidFill>
                <a:prstDash val="solid"/>
              </a:ln>
              <a:effectLst/>
            </p:spPr>
          </p:cxnSp>
          <p:cxnSp>
            <p:nvCxnSpPr>
              <p:cNvPr id="12" name="Straight Connector 11"/>
              <p:cNvCxnSpPr/>
              <p:nvPr/>
            </p:nvCxnSpPr>
            <p:spPr>
              <a:xfrm rot="16200000" flipV="1">
                <a:off x="4461361" y="2977105"/>
                <a:ext cx="0" cy="1737360"/>
              </a:xfrm>
              <a:prstGeom prst="line">
                <a:avLst/>
              </a:prstGeom>
              <a:noFill/>
              <a:ln w="76200" cap="flat" cmpd="sng" algn="ctr">
                <a:solidFill>
                  <a:schemeClr val="bg1"/>
                </a:solidFill>
                <a:prstDash val="solid"/>
              </a:ln>
              <a:effectLst/>
            </p:spPr>
          </p:cxnSp>
          <p:cxnSp>
            <p:nvCxnSpPr>
              <p:cNvPr id="13" name="Straight Connector 12"/>
              <p:cNvCxnSpPr/>
              <p:nvPr/>
            </p:nvCxnSpPr>
            <p:spPr>
              <a:xfrm rot="16200000" flipV="1">
                <a:off x="3794305" y="2329414"/>
                <a:ext cx="0" cy="633677"/>
              </a:xfrm>
              <a:prstGeom prst="line">
                <a:avLst/>
              </a:prstGeom>
              <a:noFill/>
              <a:ln w="76200" cap="flat" cmpd="sng" algn="ctr">
                <a:solidFill>
                  <a:schemeClr val="bg1"/>
                </a:solidFill>
                <a:prstDash val="solid"/>
              </a:ln>
              <a:effectLst/>
            </p:spPr>
          </p:cxnSp>
          <p:cxnSp>
            <p:nvCxnSpPr>
              <p:cNvPr id="14" name="Straight Connector 13"/>
              <p:cNvCxnSpPr/>
              <p:nvPr/>
            </p:nvCxnSpPr>
            <p:spPr>
              <a:xfrm flipH="1">
                <a:off x="4802428" y="4005070"/>
                <a:ext cx="633678" cy="408909"/>
              </a:xfrm>
              <a:prstGeom prst="line">
                <a:avLst/>
              </a:prstGeom>
              <a:noFill/>
              <a:ln w="76200" cap="flat" cmpd="sng" algn="ctr">
                <a:solidFill>
                  <a:schemeClr val="bg1"/>
                </a:solidFill>
                <a:prstDash val="solid"/>
              </a:ln>
              <a:effectLst/>
            </p:spPr>
          </p:cxnSp>
          <p:cxnSp>
            <p:nvCxnSpPr>
              <p:cNvPr id="15" name="Straight Connector 14"/>
              <p:cNvCxnSpPr/>
              <p:nvPr/>
            </p:nvCxnSpPr>
            <p:spPr>
              <a:xfrm>
                <a:off x="5759765" y="3053133"/>
                <a:ext cx="0" cy="365760"/>
              </a:xfrm>
              <a:prstGeom prst="line">
                <a:avLst/>
              </a:prstGeom>
              <a:noFill/>
              <a:ln w="76200" cap="flat" cmpd="sng" algn="ctr">
                <a:solidFill>
                  <a:schemeClr val="bg1"/>
                </a:solidFill>
                <a:prstDash val="solid"/>
              </a:ln>
              <a:effectLst/>
            </p:spPr>
          </p:cxnSp>
          <p:cxnSp>
            <p:nvCxnSpPr>
              <p:cNvPr id="17" name="Straight Connector 16"/>
              <p:cNvCxnSpPr/>
              <p:nvPr/>
            </p:nvCxnSpPr>
            <p:spPr>
              <a:xfrm flipH="1">
                <a:off x="4921298" y="5675673"/>
                <a:ext cx="457200" cy="0"/>
              </a:xfrm>
              <a:prstGeom prst="line">
                <a:avLst/>
              </a:prstGeom>
              <a:noFill/>
              <a:ln w="76200" cap="flat" cmpd="sng" algn="ctr">
                <a:solidFill>
                  <a:schemeClr val="bg1"/>
                </a:solidFill>
                <a:prstDash val="solid"/>
                <a:headEnd type="triangle" w="sm" len="sm"/>
              </a:ln>
              <a:effectLst/>
            </p:spPr>
          </p:cxnSp>
          <p:cxnSp>
            <p:nvCxnSpPr>
              <p:cNvPr id="18" name="Straight Connector 17"/>
              <p:cNvCxnSpPr/>
              <p:nvPr/>
            </p:nvCxnSpPr>
            <p:spPr>
              <a:xfrm flipV="1">
                <a:off x="2316988" y="1837986"/>
                <a:ext cx="914400" cy="0"/>
              </a:xfrm>
              <a:prstGeom prst="line">
                <a:avLst/>
              </a:prstGeom>
              <a:noFill/>
              <a:ln w="76200" cap="rnd" cmpd="sng" algn="ctr">
                <a:solidFill>
                  <a:schemeClr val="bg1"/>
                </a:solidFill>
                <a:prstDash val="solid"/>
              </a:ln>
              <a:effectLst/>
            </p:spPr>
          </p:cxnSp>
          <p:sp>
            <p:nvSpPr>
              <p:cNvPr id="19" name="Teardrop 1"/>
              <p:cNvSpPr/>
              <p:nvPr/>
            </p:nvSpPr>
            <p:spPr>
              <a:xfrm rot="10800000">
                <a:off x="1798097" y="1845417"/>
                <a:ext cx="514350" cy="765210"/>
              </a:xfrm>
              <a:custGeom>
                <a:avLst/>
                <a:gdLst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0 w 1028700"/>
                  <a:gd name="connsiteY5" fmla="*/ 51435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91440 w 1028700"/>
                  <a:gd name="connsiteY5" fmla="*/ 60579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0" fmla="*/ 0 w 514350"/>
                  <a:gd name="connsiteY0" fmla="*/ 0 h 1028700"/>
                  <a:gd name="connsiteX1" fmla="*/ 514350 w 514350"/>
                  <a:gd name="connsiteY1" fmla="*/ 0 h 1028700"/>
                  <a:gd name="connsiteX2" fmla="*/ 514350 w 514350"/>
                  <a:gd name="connsiteY2" fmla="*/ 514350 h 1028700"/>
                  <a:gd name="connsiteX3" fmla="*/ 0 w 514350"/>
                  <a:gd name="connsiteY3" fmla="*/ 1028700 h 1028700"/>
                  <a:gd name="connsiteX0" fmla="*/ 514350 w 514350"/>
                  <a:gd name="connsiteY0" fmla="*/ 0 h 1028700"/>
                  <a:gd name="connsiteX1" fmla="*/ 514350 w 514350"/>
                  <a:gd name="connsiteY1" fmla="*/ 514350 h 1028700"/>
                  <a:gd name="connsiteX2" fmla="*/ 0 w 514350"/>
                  <a:gd name="connsiteY2" fmla="*/ 1028700 h 1028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4350" h="1028700">
                    <a:moveTo>
                      <a:pt x="514350" y="0"/>
                    </a:moveTo>
                    <a:lnTo>
                      <a:pt x="514350" y="514350"/>
                    </a:lnTo>
                    <a:cubicBezTo>
                      <a:pt x="514350" y="798418"/>
                      <a:pt x="284068" y="1028700"/>
                      <a:pt x="0" y="1028700"/>
                    </a:cubicBezTo>
                  </a:path>
                </a:pathLst>
              </a:custGeom>
              <a:noFill/>
              <a:ln w="76200" cap="rnd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103017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0" name="Teardrop 1"/>
              <p:cNvSpPr/>
              <p:nvPr/>
            </p:nvSpPr>
            <p:spPr>
              <a:xfrm rot="16200000">
                <a:off x="3350867" y="1688068"/>
                <a:ext cx="457200" cy="765210"/>
              </a:xfrm>
              <a:custGeom>
                <a:avLst/>
                <a:gdLst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0 w 1028700"/>
                  <a:gd name="connsiteY5" fmla="*/ 51435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91440 w 1028700"/>
                  <a:gd name="connsiteY5" fmla="*/ 60579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0" fmla="*/ 0 w 514350"/>
                  <a:gd name="connsiteY0" fmla="*/ 0 h 1028700"/>
                  <a:gd name="connsiteX1" fmla="*/ 514350 w 514350"/>
                  <a:gd name="connsiteY1" fmla="*/ 0 h 1028700"/>
                  <a:gd name="connsiteX2" fmla="*/ 514350 w 514350"/>
                  <a:gd name="connsiteY2" fmla="*/ 514350 h 1028700"/>
                  <a:gd name="connsiteX3" fmla="*/ 0 w 514350"/>
                  <a:gd name="connsiteY3" fmla="*/ 1028700 h 1028700"/>
                  <a:gd name="connsiteX0" fmla="*/ 514350 w 514350"/>
                  <a:gd name="connsiteY0" fmla="*/ 0 h 1028700"/>
                  <a:gd name="connsiteX1" fmla="*/ 514350 w 514350"/>
                  <a:gd name="connsiteY1" fmla="*/ 514350 h 1028700"/>
                  <a:gd name="connsiteX2" fmla="*/ 0 w 514350"/>
                  <a:gd name="connsiteY2" fmla="*/ 1028700 h 1028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4350" h="1028700">
                    <a:moveTo>
                      <a:pt x="514350" y="0"/>
                    </a:moveTo>
                    <a:lnTo>
                      <a:pt x="514350" y="514350"/>
                    </a:lnTo>
                    <a:cubicBezTo>
                      <a:pt x="514350" y="798418"/>
                      <a:pt x="284068" y="1028700"/>
                      <a:pt x="0" y="1028700"/>
                    </a:cubicBezTo>
                  </a:path>
                </a:pathLst>
              </a:custGeom>
              <a:noFill/>
              <a:ln w="76200" cap="rnd" cmpd="sng" algn="ctr">
                <a:solidFill>
                  <a:schemeClr val="bg1"/>
                </a:solidFill>
                <a:prstDash val="solid"/>
                <a:tailEnd type="triangle" w="sm" len="sm"/>
              </a:ln>
              <a:effectLst/>
            </p:spPr>
            <p:txBody>
              <a:bodyPr anchor="ctr"/>
              <a:lstStyle/>
              <a:p>
                <a:pPr marL="0" marR="0" lvl="0" indent="0" algn="ctr" defTabSz="103017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1" name="Teardrop 1"/>
              <p:cNvSpPr/>
              <p:nvPr/>
            </p:nvSpPr>
            <p:spPr>
              <a:xfrm rot="5400000">
                <a:off x="1969006" y="3247983"/>
                <a:ext cx="467856" cy="809675"/>
              </a:xfrm>
              <a:custGeom>
                <a:avLst/>
                <a:gdLst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0 w 1028700"/>
                  <a:gd name="connsiteY5" fmla="*/ 51435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91440 w 1028700"/>
                  <a:gd name="connsiteY5" fmla="*/ 60579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0" fmla="*/ 0 w 514350"/>
                  <a:gd name="connsiteY0" fmla="*/ 0 h 1028700"/>
                  <a:gd name="connsiteX1" fmla="*/ 514350 w 514350"/>
                  <a:gd name="connsiteY1" fmla="*/ 0 h 1028700"/>
                  <a:gd name="connsiteX2" fmla="*/ 514350 w 514350"/>
                  <a:gd name="connsiteY2" fmla="*/ 514350 h 1028700"/>
                  <a:gd name="connsiteX3" fmla="*/ 0 w 514350"/>
                  <a:gd name="connsiteY3" fmla="*/ 1028700 h 1028700"/>
                  <a:gd name="connsiteX0" fmla="*/ 514350 w 514350"/>
                  <a:gd name="connsiteY0" fmla="*/ 0 h 1028700"/>
                  <a:gd name="connsiteX1" fmla="*/ 514350 w 514350"/>
                  <a:gd name="connsiteY1" fmla="*/ 514350 h 1028700"/>
                  <a:gd name="connsiteX2" fmla="*/ 0 w 514350"/>
                  <a:gd name="connsiteY2" fmla="*/ 1028700 h 1028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4350" h="1028700">
                    <a:moveTo>
                      <a:pt x="514350" y="0"/>
                    </a:moveTo>
                    <a:lnTo>
                      <a:pt x="514350" y="514350"/>
                    </a:lnTo>
                    <a:cubicBezTo>
                      <a:pt x="514350" y="798418"/>
                      <a:pt x="284068" y="1028700"/>
                      <a:pt x="0" y="1028700"/>
                    </a:cubicBezTo>
                  </a:path>
                </a:pathLst>
              </a:custGeom>
              <a:noFill/>
              <a:ln w="76200" cap="rnd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103017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2" name="Teardrop 1"/>
              <p:cNvSpPr/>
              <p:nvPr/>
            </p:nvSpPr>
            <p:spPr>
              <a:xfrm rot="10800000" flipH="1">
                <a:off x="6322076" y="2609774"/>
                <a:ext cx="1043865" cy="274320"/>
              </a:xfrm>
              <a:custGeom>
                <a:avLst/>
                <a:gdLst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0 w 1028700"/>
                  <a:gd name="connsiteY5" fmla="*/ 51435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91440 w 1028700"/>
                  <a:gd name="connsiteY5" fmla="*/ 60579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0" fmla="*/ 0 w 514350"/>
                  <a:gd name="connsiteY0" fmla="*/ 0 h 1028700"/>
                  <a:gd name="connsiteX1" fmla="*/ 514350 w 514350"/>
                  <a:gd name="connsiteY1" fmla="*/ 0 h 1028700"/>
                  <a:gd name="connsiteX2" fmla="*/ 514350 w 514350"/>
                  <a:gd name="connsiteY2" fmla="*/ 514350 h 1028700"/>
                  <a:gd name="connsiteX3" fmla="*/ 0 w 514350"/>
                  <a:gd name="connsiteY3" fmla="*/ 1028700 h 1028700"/>
                  <a:gd name="connsiteX0" fmla="*/ 514350 w 514350"/>
                  <a:gd name="connsiteY0" fmla="*/ 0 h 1028700"/>
                  <a:gd name="connsiteX1" fmla="*/ 514350 w 514350"/>
                  <a:gd name="connsiteY1" fmla="*/ 514350 h 1028700"/>
                  <a:gd name="connsiteX2" fmla="*/ 0 w 514350"/>
                  <a:gd name="connsiteY2" fmla="*/ 1028700 h 1028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4350" h="1028700">
                    <a:moveTo>
                      <a:pt x="514350" y="0"/>
                    </a:moveTo>
                    <a:lnTo>
                      <a:pt x="514350" y="514350"/>
                    </a:lnTo>
                    <a:cubicBezTo>
                      <a:pt x="514350" y="798418"/>
                      <a:pt x="284068" y="1028700"/>
                      <a:pt x="0" y="1028700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bg1"/>
                </a:solidFill>
                <a:prstDash val="solid"/>
                <a:tailEnd type="triangle" w="sm" len="sm"/>
              </a:ln>
              <a:effectLst/>
            </p:spPr>
            <p:txBody>
              <a:bodyPr anchor="ctr"/>
              <a:lstStyle/>
              <a:p>
                <a:pPr marL="0" marR="0" lvl="0" indent="0" algn="ctr" defTabSz="103017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3" name="Teardrop 1"/>
              <p:cNvSpPr/>
              <p:nvPr/>
            </p:nvSpPr>
            <p:spPr>
              <a:xfrm rot="16200000" flipH="1">
                <a:off x="6701783" y="3179967"/>
                <a:ext cx="198122" cy="1130195"/>
              </a:xfrm>
              <a:custGeom>
                <a:avLst/>
                <a:gdLst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0 w 1028700"/>
                  <a:gd name="connsiteY5" fmla="*/ 51435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91440 w 1028700"/>
                  <a:gd name="connsiteY5" fmla="*/ 60579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0" fmla="*/ 0 w 514350"/>
                  <a:gd name="connsiteY0" fmla="*/ 0 h 1028700"/>
                  <a:gd name="connsiteX1" fmla="*/ 514350 w 514350"/>
                  <a:gd name="connsiteY1" fmla="*/ 0 h 1028700"/>
                  <a:gd name="connsiteX2" fmla="*/ 514350 w 514350"/>
                  <a:gd name="connsiteY2" fmla="*/ 514350 h 1028700"/>
                  <a:gd name="connsiteX3" fmla="*/ 0 w 514350"/>
                  <a:gd name="connsiteY3" fmla="*/ 1028700 h 1028700"/>
                  <a:gd name="connsiteX0" fmla="*/ 514350 w 514350"/>
                  <a:gd name="connsiteY0" fmla="*/ 0 h 1028700"/>
                  <a:gd name="connsiteX1" fmla="*/ 514350 w 514350"/>
                  <a:gd name="connsiteY1" fmla="*/ 514350 h 1028700"/>
                  <a:gd name="connsiteX2" fmla="*/ 0 w 514350"/>
                  <a:gd name="connsiteY2" fmla="*/ 1028700 h 1028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4350" h="1028700">
                    <a:moveTo>
                      <a:pt x="514350" y="0"/>
                    </a:moveTo>
                    <a:lnTo>
                      <a:pt x="514350" y="514350"/>
                    </a:lnTo>
                    <a:cubicBezTo>
                      <a:pt x="514350" y="798418"/>
                      <a:pt x="284068" y="1028700"/>
                      <a:pt x="0" y="1028700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bg1"/>
                </a:solidFill>
                <a:prstDash val="solid"/>
                <a:tailEnd type="none" w="sm" len="sm"/>
              </a:ln>
              <a:effectLst/>
            </p:spPr>
            <p:txBody>
              <a:bodyPr anchor="ctr"/>
              <a:lstStyle/>
              <a:p>
                <a:pPr marL="0" marR="0" lvl="0" indent="0" algn="ctr" defTabSz="103017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24" name="Teardrop 1"/>
              <p:cNvSpPr/>
              <p:nvPr/>
            </p:nvSpPr>
            <p:spPr>
              <a:xfrm rot="5400000" flipH="1" flipV="1">
                <a:off x="6661024" y="3579805"/>
                <a:ext cx="267602" cy="813355"/>
              </a:xfrm>
              <a:custGeom>
                <a:avLst/>
                <a:gdLst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0 w 1028700"/>
                  <a:gd name="connsiteY5" fmla="*/ 51435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5" fmla="*/ 91440 w 1028700"/>
                  <a:gd name="connsiteY5" fmla="*/ 605790 h 1028700"/>
                  <a:gd name="connsiteX0" fmla="*/ 0 w 1028700"/>
                  <a:gd name="connsiteY0" fmla="*/ 514350 h 1028700"/>
                  <a:gd name="connsiteX1" fmla="*/ 514350 w 1028700"/>
                  <a:gd name="connsiteY1" fmla="*/ 0 h 1028700"/>
                  <a:gd name="connsiteX2" fmla="*/ 1028700 w 1028700"/>
                  <a:gd name="connsiteY2" fmla="*/ 0 h 1028700"/>
                  <a:gd name="connsiteX3" fmla="*/ 1028700 w 1028700"/>
                  <a:gd name="connsiteY3" fmla="*/ 514350 h 1028700"/>
                  <a:gd name="connsiteX4" fmla="*/ 514350 w 1028700"/>
                  <a:gd name="connsiteY4" fmla="*/ 1028700 h 1028700"/>
                  <a:gd name="connsiteX0" fmla="*/ 0 w 514350"/>
                  <a:gd name="connsiteY0" fmla="*/ 0 h 1028700"/>
                  <a:gd name="connsiteX1" fmla="*/ 514350 w 514350"/>
                  <a:gd name="connsiteY1" fmla="*/ 0 h 1028700"/>
                  <a:gd name="connsiteX2" fmla="*/ 514350 w 514350"/>
                  <a:gd name="connsiteY2" fmla="*/ 514350 h 1028700"/>
                  <a:gd name="connsiteX3" fmla="*/ 0 w 514350"/>
                  <a:gd name="connsiteY3" fmla="*/ 1028700 h 1028700"/>
                  <a:gd name="connsiteX0" fmla="*/ 514350 w 514350"/>
                  <a:gd name="connsiteY0" fmla="*/ 0 h 1028700"/>
                  <a:gd name="connsiteX1" fmla="*/ 514350 w 514350"/>
                  <a:gd name="connsiteY1" fmla="*/ 514350 h 1028700"/>
                  <a:gd name="connsiteX2" fmla="*/ 0 w 514350"/>
                  <a:gd name="connsiteY2" fmla="*/ 1028700 h 1028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4350" h="1028700">
                    <a:moveTo>
                      <a:pt x="514350" y="0"/>
                    </a:moveTo>
                    <a:lnTo>
                      <a:pt x="514350" y="514350"/>
                    </a:lnTo>
                    <a:cubicBezTo>
                      <a:pt x="514350" y="798418"/>
                      <a:pt x="284068" y="1028700"/>
                      <a:pt x="0" y="1028700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bg1"/>
                </a:solidFill>
                <a:prstDash val="solid"/>
                <a:tailEnd type="none" w="sm" len="sm"/>
              </a:ln>
              <a:effectLst/>
            </p:spPr>
            <p:txBody>
              <a:bodyPr anchor="ctr"/>
              <a:lstStyle/>
              <a:p>
                <a:pPr marL="0" marR="0" lvl="0" indent="0" algn="ctr" defTabSz="103017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26" name="Oval 25"/>
            <p:cNvSpPr/>
            <p:nvPr/>
          </p:nvSpPr>
          <p:spPr>
            <a:xfrm>
              <a:off x="5015118" y="1294687"/>
              <a:ext cx="1237876" cy="1239220"/>
            </a:xfrm>
            <a:prstGeom prst="ellipse">
              <a:avLst/>
            </a:prstGeom>
            <a:gradFill flip="none" rotWithShape="1">
              <a:gsLst>
                <a:gs pos="0">
                  <a:srgbClr val="FCB32D"/>
                </a:gs>
                <a:gs pos="50000">
                  <a:srgbClr val="FEC327"/>
                </a:gs>
                <a:gs pos="100000">
                  <a:srgbClr val="FED129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作者提交稿件</a:t>
              </a:r>
              <a:endParaRPr lang="en-US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5125699" y="2734863"/>
              <a:ext cx="979319" cy="980383"/>
            </a:xfrm>
            <a:prstGeom prst="ellipse">
              <a:avLst/>
            </a:prstGeom>
            <a:gradFill flip="none" rotWithShape="1">
              <a:gsLst>
                <a:gs pos="0">
                  <a:srgbClr val="FCB32D"/>
                </a:gs>
                <a:gs pos="50000">
                  <a:srgbClr val="FEC327"/>
                </a:gs>
                <a:gs pos="100000">
                  <a:srgbClr val="FED129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编辑对文章进行评估</a:t>
              </a:r>
              <a:endParaRPr lang="en-US" sz="1600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6450660" y="2734862"/>
              <a:ext cx="979319" cy="980383"/>
            </a:xfrm>
            <a:prstGeom prst="ellipse">
              <a:avLst/>
            </a:prstGeom>
            <a:gradFill flip="none" rotWithShape="1">
              <a:gsLst>
                <a:gs pos="0">
                  <a:srgbClr val="FCB32D"/>
                </a:gs>
                <a:gs pos="50000">
                  <a:srgbClr val="FEC327"/>
                </a:gs>
                <a:gs pos="100000">
                  <a:srgbClr val="FED129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文章</a:t>
              </a:r>
              <a:endParaRPr lang="en-US" altLang="zh-CN" sz="1600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送审</a:t>
              </a:r>
              <a:endParaRPr lang="en-US" sz="1600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8063656" y="3309868"/>
              <a:ext cx="979319" cy="980383"/>
            </a:xfrm>
            <a:prstGeom prst="ellipse">
              <a:avLst/>
            </a:prstGeom>
            <a:gradFill flip="none" rotWithShape="1">
              <a:gsLst>
                <a:gs pos="0">
                  <a:srgbClr val="FCB32D"/>
                </a:gs>
                <a:gs pos="50000">
                  <a:srgbClr val="FEC327"/>
                </a:gs>
                <a:gs pos="100000">
                  <a:srgbClr val="FED129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文章需要进一步评审？</a:t>
              </a:r>
              <a:endParaRPr lang="en-US" sz="1600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6469057" y="3932735"/>
              <a:ext cx="979319" cy="980383"/>
            </a:xfrm>
            <a:prstGeom prst="ellipse">
              <a:avLst/>
            </a:prstGeom>
            <a:gradFill flip="none" rotWithShape="1">
              <a:gsLst>
                <a:gs pos="0">
                  <a:srgbClr val="FCB32D"/>
                </a:gs>
                <a:gs pos="50000">
                  <a:srgbClr val="FEC327"/>
                </a:gs>
                <a:gs pos="100000">
                  <a:srgbClr val="FED129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编辑评估审稿意见</a:t>
              </a:r>
              <a:endParaRPr lang="en-US" sz="1600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3858345" y="2761522"/>
              <a:ext cx="928067" cy="927061"/>
            </a:xfrm>
            <a:prstGeom prst="ellipse">
              <a:avLst/>
            </a:prstGeom>
            <a:gradFill flip="none" rotWithShape="1">
              <a:gsLst>
                <a:gs pos="0">
                  <a:srgbClr val="A21C2D"/>
                </a:gs>
                <a:gs pos="50000">
                  <a:srgbClr val="C42035"/>
                </a:gs>
                <a:gs pos="100000">
                  <a:srgbClr val="EE2840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拒绝发表</a:t>
              </a:r>
              <a:endParaRPr lang="en-US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7826873" y="4693500"/>
              <a:ext cx="928067" cy="927061"/>
            </a:xfrm>
            <a:prstGeom prst="ellipse">
              <a:avLst/>
            </a:prstGeom>
            <a:gradFill flip="none" rotWithShape="1">
              <a:gsLst>
                <a:gs pos="0">
                  <a:srgbClr val="A21C2D"/>
                </a:gs>
                <a:gs pos="50000">
                  <a:srgbClr val="C42035"/>
                </a:gs>
                <a:gs pos="100000">
                  <a:srgbClr val="EE2840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拒绝发表</a:t>
              </a:r>
              <a:endParaRPr lang="en-US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5125699" y="4578286"/>
              <a:ext cx="998703" cy="998703"/>
            </a:xfrm>
            <a:prstGeom prst="ellipse">
              <a:avLst/>
            </a:prstGeom>
            <a:gradFill flip="none" rotWithShape="1">
              <a:gsLst>
                <a:gs pos="0">
                  <a:srgbClr val="FCB32D"/>
                </a:gs>
                <a:gs pos="50000">
                  <a:srgbClr val="FEC327"/>
                </a:gs>
                <a:gs pos="100000">
                  <a:srgbClr val="FED129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文章被接收</a:t>
              </a:r>
              <a:endParaRPr lang="en-US" sz="1600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2458243" y="3022897"/>
              <a:ext cx="1054460" cy="1054460"/>
            </a:xfrm>
            <a:prstGeom prst="ellipse">
              <a:avLst/>
            </a:prstGeom>
            <a:gradFill flip="none" rotWithShape="1">
              <a:gsLst>
                <a:gs pos="0">
                  <a:srgbClr val="FCB32D"/>
                </a:gs>
                <a:gs pos="50000">
                  <a:srgbClr val="FEC327"/>
                </a:gs>
                <a:gs pos="100000">
                  <a:srgbClr val="FED129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作者提交修改后的稿件</a:t>
              </a:r>
              <a:endParaRPr lang="en-US" sz="1400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3795148" y="3932735"/>
              <a:ext cx="1054460" cy="1054460"/>
            </a:xfrm>
            <a:prstGeom prst="ellipse">
              <a:avLst/>
            </a:prstGeom>
            <a:gradFill flip="none" rotWithShape="1">
              <a:gsLst>
                <a:gs pos="0">
                  <a:srgbClr val="FCB32D"/>
                </a:gs>
                <a:gs pos="50000">
                  <a:srgbClr val="FEC327"/>
                </a:gs>
                <a:gs pos="100000">
                  <a:srgbClr val="FED129"/>
                </a:gs>
              </a:gsLst>
              <a:lin ang="18900000" scaled="1"/>
              <a:tileRect/>
            </a:gradFill>
            <a:ln w="76200" cap="flat" cmpd="sng" algn="ctr">
              <a:noFill/>
              <a:prstDash val="solid"/>
            </a:ln>
            <a:effectLst/>
          </p:spPr>
          <p:txBody>
            <a:bodyPr lIns="9144" tIns="18288" rIns="9144" bIns="18288" anchor="ctr"/>
            <a:lstStyle/>
            <a:p>
              <a:pPr algn="ctr" defTabSz="1030178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600" b="1" kern="0" dirty="0">
                  <a:solidFill>
                    <a:srgbClr val="FFFFFF"/>
                  </a:solidFill>
                  <a:latin typeface="Microsoft YaHei" pitchFamily="34" charset="-122"/>
                  <a:ea typeface="Microsoft YaHei" pitchFamily="34" charset="-122"/>
                  <a:cs typeface="Open Sans" panose="020B0606030504020204" pitchFamily="34" charset="0"/>
                </a:rPr>
                <a:t>文章需要修改</a:t>
              </a:r>
              <a:endParaRPr lang="en-US" sz="1600" b="1" kern="0" dirty="0">
                <a:solidFill>
                  <a:srgbClr val="FFFFFF"/>
                </a:solidFill>
                <a:latin typeface="Microsoft YaHei" pitchFamily="34" charset="-122"/>
                <a:ea typeface="Microsoft YaHei" pitchFamily="34" charset="-122"/>
                <a:cs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63313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4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446" cy="613410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-13648" y="0"/>
            <a:ext cx="12192000" cy="6134100"/>
          </a:xfrm>
          <a:prstGeom prst="rect">
            <a:avLst/>
          </a:prstGeom>
          <a:gradFill>
            <a:gsLst>
              <a:gs pos="100000">
                <a:schemeClr val="accent6">
                  <a:alpha val="70000"/>
                </a:schemeClr>
              </a:gs>
              <a:gs pos="0">
                <a:srgbClr val="059568">
                  <a:alpha val="70000"/>
                </a:srgbClr>
              </a:gs>
              <a:gs pos="0">
                <a:srgbClr val="059169"/>
              </a:gs>
              <a:gs pos="0">
                <a:srgbClr val="07A163"/>
              </a:gs>
              <a:gs pos="0">
                <a:srgbClr val="069F64"/>
              </a:gs>
              <a:gs pos="0">
                <a:srgbClr val="069C65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532498" y="572254"/>
            <a:ext cx="377539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40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编辑关注的重点</a:t>
            </a:r>
            <a:endParaRPr lang="en-US" sz="40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32378" y="686571"/>
            <a:ext cx="0" cy="4572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8970" y="1457467"/>
            <a:ext cx="6394450" cy="41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77924" y="1539355"/>
            <a:ext cx="421715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题目</a:t>
            </a:r>
            <a:r>
              <a:rPr lang="en-US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(Title)</a:t>
            </a:r>
          </a:p>
          <a:p>
            <a:pPr marL="342900" indent="-34290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关键词 </a:t>
            </a:r>
            <a:r>
              <a:rPr lang="en-US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(Key Words)</a:t>
            </a:r>
          </a:p>
          <a:p>
            <a:pPr marL="342900" indent="-34290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摘要</a:t>
            </a:r>
            <a:r>
              <a:rPr lang="en-US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(Abstract)</a:t>
            </a:r>
          </a:p>
          <a:p>
            <a:pPr marL="342900" indent="-34290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投稿信（</a:t>
            </a:r>
            <a:r>
              <a:rPr lang="en-US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ver Letter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2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图表（</a:t>
            </a:r>
            <a:r>
              <a:rPr lang="en-US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igures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2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参考文献（</a:t>
            </a:r>
            <a:r>
              <a:rPr lang="en-US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ferences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  <a:endParaRPr lang="en-US" altLang="zh-CN" sz="2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342900" indent="-342900">
              <a:lnSpc>
                <a:spcPct val="15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…………</a:t>
            </a:r>
          </a:p>
        </p:txBody>
      </p:sp>
    </p:spTree>
    <p:extLst>
      <p:ext uri="{BB962C8B-B14F-4D97-AF65-F5344CB8AC3E}">
        <p14:creationId xmlns:p14="http://schemas.microsoft.com/office/powerpoint/2010/main" val="14918060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614476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5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818876" y="1527614"/>
            <a:ext cx="8611738" cy="420445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22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522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22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rgbClr val="522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rgbClr val="522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10000"/>
              </a:spcBef>
              <a:buClr>
                <a:schemeClr val="bg1"/>
              </a:buClr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文章的第一印象</a:t>
            </a:r>
            <a:endParaRPr lang="en-GB" altLang="zh-CN" sz="2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>
              <a:lnSpc>
                <a:spcPct val="150000"/>
              </a:lnSpc>
              <a:spcBef>
                <a:spcPct val="10000"/>
              </a:spcBef>
              <a:buClr>
                <a:schemeClr val="bg1"/>
              </a:buClr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好的题目能够说服编辑</a:t>
            </a:r>
            <a:r>
              <a:rPr lang="en-US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/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审稿人并且吸引读者引用</a:t>
            </a:r>
            <a:endParaRPr lang="en-GB" altLang="zh-CN" sz="2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>
              <a:lnSpc>
                <a:spcPct val="150000"/>
              </a:lnSpc>
              <a:spcBef>
                <a:spcPct val="10000"/>
              </a:spcBef>
              <a:buClr>
                <a:schemeClr val="bg1"/>
              </a:buClr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通常不超过</a:t>
            </a:r>
            <a:r>
              <a:rPr lang="en-US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5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个单词</a:t>
            </a:r>
            <a:endParaRPr lang="en-GB" altLang="zh-CN" sz="2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>
              <a:lnSpc>
                <a:spcPct val="150000"/>
              </a:lnSpc>
              <a:spcBef>
                <a:spcPct val="10000"/>
              </a:spcBef>
              <a:buClr>
                <a:schemeClr val="bg1"/>
              </a:buClr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能够传递主要的研究成果或结论</a:t>
            </a:r>
            <a:endParaRPr lang="en-GB" altLang="zh-CN" sz="2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>
              <a:lnSpc>
                <a:spcPct val="150000"/>
              </a:lnSpc>
              <a:spcBef>
                <a:spcPct val="10000"/>
              </a:spcBef>
              <a:buClr>
                <a:schemeClr val="bg1"/>
              </a:buClr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避免如下题目（</a:t>
            </a:r>
            <a:r>
              <a:rPr lang="en-GB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Studies on….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</a:t>
            </a:r>
            <a:r>
              <a:rPr lang="en-GB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Characterization of…..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</a:t>
            </a:r>
            <a:r>
              <a:rPr lang="en-GB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ptimization of….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 </a:t>
            </a:r>
            <a:r>
              <a:rPr lang="en-GB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Investigations on….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）</a:t>
            </a:r>
            <a:endParaRPr lang="en-GB" altLang="zh-CN" sz="24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>
              <a:lnSpc>
                <a:spcPct val="150000"/>
              </a:lnSpc>
              <a:spcBef>
                <a:spcPct val="10000"/>
              </a:spcBef>
              <a:buClr>
                <a:schemeClr val="bg1"/>
              </a:buClr>
            </a:pP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不要使用</a:t>
            </a:r>
            <a:r>
              <a:rPr lang="en-GB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“new” </a:t>
            </a:r>
            <a:r>
              <a:rPr lang="zh-CN" altLang="en-US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或者</a:t>
            </a:r>
            <a:r>
              <a:rPr lang="en-GB" altLang="zh-CN" sz="24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“novel”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32498" y="572254"/>
            <a:ext cx="274947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40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优秀的题目</a:t>
            </a:r>
            <a:endParaRPr lang="en-US" sz="40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32378" y="686571"/>
            <a:ext cx="0" cy="4572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56186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754F6B-A2BD-41D8-B57D-E0FDDDBFA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A17070-0DBE-4BF4-A04F-DAE389CEED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sz="2400" b="1" kern="0" dirty="0">
                <a:solidFill>
                  <a:srgbClr val="FF6C11"/>
                </a:solidFill>
                <a:latin typeface="Microsoft YaHei" pitchFamily="34" charset="-122"/>
                <a:ea typeface="Microsoft YaHei" pitchFamily="34" charset="-122"/>
                <a:cs typeface="Arial" pitchFamily="34" charset="0"/>
              </a:rPr>
              <a:t>请对我的培训进行评价，获取本次培训课件下载地址</a:t>
            </a:r>
            <a:endParaRPr lang="en-US" sz="2400" b="1" kern="0" dirty="0">
              <a:solidFill>
                <a:srgbClr val="FF6C11"/>
              </a:solidFill>
              <a:latin typeface="Microsoft YaHei" pitchFamily="34" charset="-122"/>
              <a:ea typeface="Microsoft YaHei" pitchFamily="34" charset="-122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AC18C86-6192-49F5-92AC-720640AEA6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0413" y="1009934"/>
            <a:ext cx="5002910" cy="5022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32654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914399" y="1484456"/>
            <a:ext cx="5704573" cy="268943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5400" dirty="0">
                <a:solidFill>
                  <a:srgbClr val="FFC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</a:t>
            </a:r>
            <a:r>
              <a:rPr lang="en-US" altLang="zh-CN" sz="5400" dirty="0">
                <a:solidFill>
                  <a:srgbClr val="FFC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ank you!</a:t>
            </a:r>
            <a:br>
              <a:rPr lang="en-US" altLang="zh-CN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付振平</a:t>
            </a:r>
            <a:b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Wiley</a:t>
            </a:r>
            <a:r>
              <a:rPr lang="zh-CN" altLang="en-US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产品与解决方案顾问</a:t>
            </a:r>
            <a:b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</a:br>
            <a:r>
              <a:rPr lang="en-US" altLang="zh-CN" sz="2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zfu@wiley.com</a:t>
            </a:r>
            <a:endParaRPr lang="en-US" sz="2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Oval 4"/>
          <p:cNvSpPr/>
          <p:nvPr/>
        </p:nvSpPr>
        <p:spPr>
          <a:xfrm>
            <a:off x="7262095" y="42532"/>
            <a:ext cx="6035040" cy="6035040"/>
          </a:xfrm>
          <a:prstGeom prst="ellipse">
            <a:avLst/>
          </a:prstGeom>
          <a:blipFill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38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147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68"/>
          <a:stretch/>
        </p:blipFill>
        <p:spPr bwMode="auto">
          <a:xfrm flipH="1">
            <a:off x="-21267" y="-42533"/>
            <a:ext cx="12225439" cy="6217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0"/>
            <a:ext cx="12192000" cy="6175387"/>
          </a:xfrm>
          <a:prstGeom prst="rect">
            <a:avLst/>
          </a:prstGeom>
          <a:gradFill>
            <a:gsLst>
              <a:gs pos="100000">
                <a:schemeClr val="accent6">
                  <a:alpha val="70000"/>
                </a:schemeClr>
              </a:gs>
              <a:gs pos="0">
                <a:srgbClr val="059568">
                  <a:alpha val="70000"/>
                </a:srgbClr>
              </a:gs>
              <a:gs pos="0">
                <a:srgbClr val="059169"/>
              </a:gs>
              <a:gs pos="0">
                <a:srgbClr val="07A163"/>
              </a:gs>
              <a:gs pos="0">
                <a:srgbClr val="069F64"/>
              </a:gs>
              <a:gs pos="0">
                <a:srgbClr val="069C65"/>
              </a:gs>
              <a:gs pos="0">
                <a:schemeClr val="accent1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3973592" y="1480820"/>
            <a:ext cx="7504169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rgbClr val="FFC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约翰威立商务服务（北京）有限公司</a:t>
            </a:r>
          </a:p>
          <a:p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地址：北京市朝阳区太阳宫中路 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2A 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号太阳宫大厦 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8 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层 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805-808 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室，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00028</a:t>
            </a:r>
          </a:p>
          <a:p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电话：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010 8418 7800 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传真：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010 8418 7810</a:t>
            </a:r>
          </a:p>
          <a:p>
            <a:endParaRPr lang="en-US" altLang="zh-CN" sz="16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solidFill>
                  <a:srgbClr val="FFC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约翰威立商务服务（北京）有限公司上海分公司</a:t>
            </a:r>
          </a:p>
          <a:p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地址：上海市浦东新区商城路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06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号新梅联合广场二期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5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楼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B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单元，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0120</a:t>
            </a:r>
          </a:p>
          <a:p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电话：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021 8036 1200 </a:t>
            </a:r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传真：</a:t>
            </a:r>
            <a:r>
              <a:rPr lang="en-US" altLang="zh-CN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021 6160 1661</a:t>
            </a:r>
          </a:p>
          <a:p>
            <a:endParaRPr lang="en-US" altLang="zh-CN" sz="1600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如需更多详情，请访问 </a:t>
            </a:r>
            <a:r>
              <a:rPr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ww.wileyonlinelibrary.com</a:t>
            </a:r>
          </a:p>
          <a:p>
            <a:r>
              <a:rPr lang="zh-CN" altLang="en-US" sz="16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或发送邮件至：</a:t>
            </a:r>
            <a:r>
              <a:rPr 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hina_marketing@wiley.com</a:t>
            </a:r>
          </a:p>
          <a:p>
            <a:endParaRPr lang="en-US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r>
              <a:rPr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欢迎扫描左侧二维码，关注</a:t>
            </a:r>
            <a:r>
              <a:rPr lang="en-US" altLang="zh-CN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ey</a:t>
            </a:r>
            <a:r>
              <a:rPr lang="zh-CN" altLang="en-US" sz="16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官方微信！</a:t>
            </a:r>
            <a:endParaRPr lang="en-US" sz="1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9722850" y="4176215"/>
            <a:ext cx="3200400" cy="3200400"/>
          </a:xfrm>
          <a:prstGeom prst="ellipse">
            <a:avLst/>
          </a:prstGeom>
          <a:noFill/>
          <a:ln w="1238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>
            <a:spLocks noChangeArrowheads="1"/>
          </p:cNvSpPr>
          <p:nvPr/>
        </p:nvSpPr>
        <p:spPr bwMode="auto">
          <a:xfrm rot="8909489">
            <a:off x="9467113" y="4292455"/>
            <a:ext cx="2105688" cy="4216690"/>
          </a:xfrm>
          <a:custGeom>
            <a:avLst/>
            <a:gdLst>
              <a:gd name="T0" fmla="*/ 10484 w 10485"/>
              <a:gd name="T1" fmla="*/ 10372 h 21000"/>
              <a:gd name="T2" fmla="*/ 10484 w 10485"/>
              <a:gd name="T3" fmla="*/ 10372 h 21000"/>
              <a:gd name="T4" fmla="*/ 7396 w 10485"/>
              <a:gd name="T5" fmla="*/ 3033 h 21000"/>
              <a:gd name="T6" fmla="*/ 85 w 10485"/>
              <a:gd name="T7" fmla="*/ 0 h 21000"/>
              <a:gd name="T8" fmla="*/ 28 w 10485"/>
              <a:gd name="T9" fmla="*/ 0 h 21000"/>
              <a:gd name="T10" fmla="*/ 0 w 10485"/>
              <a:gd name="T11" fmla="*/ 56 h 21000"/>
              <a:gd name="T12" fmla="*/ 28 w 10485"/>
              <a:gd name="T13" fmla="*/ 85 h 21000"/>
              <a:gd name="T14" fmla="*/ 28 w 10485"/>
              <a:gd name="T15" fmla="*/ 85 h 21000"/>
              <a:gd name="T16" fmla="*/ 85 w 10485"/>
              <a:gd name="T17" fmla="*/ 85 h 21000"/>
              <a:gd name="T18" fmla="*/ 7339 w 10485"/>
              <a:gd name="T19" fmla="*/ 3089 h 21000"/>
              <a:gd name="T20" fmla="*/ 10400 w 10485"/>
              <a:gd name="T21" fmla="*/ 10372 h 21000"/>
              <a:gd name="T22" fmla="*/ 7396 w 10485"/>
              <a:gd name="T23" fmla="*/ 17712 h 21000"/>
              <a:gd name="T24" fmla="*/ 141 w 10485"/>
              <a:gd name="T25" fmla="*/ 20744 h 21000"/>
              <a:gd name="T26" fmla="*/ 255 w 10485"/>
              <a:gd name="T27" fmla="*/ 20659 h 21000"/>
              <a:gd name="T28" fmla="*/ 255 w 10485"/>
              <a:gd name="T29" fmla="*/ 20603 h 21000"/>
              <a:gd name="T30" fmla="*/ 199 w 10485"/>
              <a:gd name="T31" fmla="*/ 20603 h 21000"/>
              <a:gd name="T32" fmla="*/ 28 w 10485"/>
              <a:gd name="T33" fmla="*/ 20772 h 21000"/>
              <a:gd name="T34" fmla="*/ 0 w 10485"/>
              <a:gd name="T35" fmla="*/ 20800 h 21000"/>
              <a:gd name="T36" fmla="*/ 28 w 10485"/>
              <a:gd name="T37" fmla="*/ 20830 h 21000"/>
              <a:gd name="T38" fmla="*/ 199 w 10485"/>
              <a:gd name="T39" fmla="*/ 20999 h 21000"/>
              <a:gd name="T40" fmla="*/ 227 w 10485"/>
              <a:gd name="T41" fmla="*/ 20999 h 21000"/>
              <a:gd name="T42" fmla="*/ 255 w 10485"/>
              <a:gd name="T43" fmla="*/ 20999 h 21000"/>
              <a:gd name="T44" fmla="*/ 255 w 10485"/>
              <a:gd name="T45" fmla="*/ 20942 h 21000"/>
              <a:gd name="T46" fmla="*/ 141 w 10485"/>
              <a:gd name="T47" fmla="*/ 20830 h 21000"/>
              <a:gd name="T48" fmla="*/ 7453 w 10485"/>
              <a:gd name="T49" fmla="*/ 17769 h 21000"/>
              <a:gd name="T50" fmla="*/ 10484 w 10485"/>
              <a:gd name="T51" fmla="*/ 10372 h 2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0485" h="21000">
                <a:moveTo>
                  <a:pt x="10484" y="10372"/>
                </a:moveTo>
                <a:lnTo>
                  <a:pt x="10484" y="10372"/>
                </a:lnTo>
                <a:cubicBezTo>
                  <a:pt x="10484" y="7595"/>
                  <a:pt x="9380" y="4988"/>
                  <a:pt x="7396" y="3033"/>
                </a:cubicBezTo>
                <a:cubicBezTo>
                  <a:pt x="5441" y="1076"/>
                  <a:pt x="2834" y="0"/>
                  <a:pt x="85" y="0"/>
                </a:cubicBezTo>
                <a:cubicBezTo>
                  <a:pt x="56" y="0"/>
                  <a:pt x="56" y="0"/>
                  <a:pt x="28" y="0"/>
                </a:cubicBezTo>
                <a:cubicBezTo>
                  <a:pt x="0" y="28"/>
                  <a:pt x="0" y="28"/>
                  <a:pt x="0" y="56"/>
                </a:cubicBezTo>
                <a:cubicBezTo>
                  <a:pt x="0" y="85"/>
                  <a:pt x="0" y="85"/>
                  <a:pt x="28" y="85"/>
                </a:cubicBezTo>
                <a:lnTo>
                  <a:pt x="28" y="85"/>
                </a:lnTo>
                <a:cubicBezTo>
                  <a:pt x="56" y="85"/>
                  <a:pt x="56" y="85"/>
                  <a:pt x="85" y="85"/>
                </a:cubicBezTo>
                <a:cubicBezTo>
                  <a:pt x="2806" y="85"/>
                  <a:pt x="5413" y="1162"/>
                  <a:pt x="7339" y="3089"/>
                </a:cubicBezTo>
                <a:cubicBezTo>
                  <a:pt x="9294" y="5044"/>
                  <a:pt x="10400" y="7623"/>
                  <a:pt x="10400" y="10372"/>
                </a:cubicBezTo>
                <a:cubicBezTo>
                  <a:pt x="10428" y="13149"/>
                  <a:pt x="9351" y="15757"/>
                  <a:pt x="7396" y="17712"/>
                </a:cubicBezTo>
                <a:cubicBezTo>
                  <a:pt x="5469" y="19667"/>
                  <a:pt x="2890" y="20744"/>
                  <a:pt x="141" y="20744"/>
                </a:cubicBezTo>
                <a:cubicBezTo>
                  <a:pt x="255" y="20659"/>
                  <a:pt x="255" y="20659"/>
                  <a:pt x="255" y="20659"/>
                </a:cubicBezTo>
                <a:cubicBezTo>
                  <a:pt x="255" y="20631"/>
                  <a:pt x="255" y="20603"/>
                  <a:pt x="255" y="20603"/>
                </a:cubicBezTo>
                <a:cubicBezTo>
                  <a:pt x="227" y="20574"/>
                  <a:pt x="199" y="20574"/>
                  <a:pt x="199" y="20603"/>
                </a:cubicBezTo>
                <a:cubicBezTo>
                  <a:pt x="28" y="20772"/>
                  <a:pt x="28" y="20772"/>
                  <a:pt x="28" y="20772"/>
                </a:cubicBezTo>
                <a:cubicBezTo>
                  <a:pt x="0" y="20772"/>
                  <a:pt x="0" y="20800"/>
                  <a:pt x="0" y="20800"/>
                </a:cubicBezTo>
                <a:cubicBezTo>
                  <a:pt x="0" y="20800"/>
                  <a:pt x="0" y="20830"/>
                  <a:pt x="28" y="20830"/>
                </a:cubicBezTo>
                <a:cubicBezTo>
                  <a:pt x="199" y="20999"/>
                  <a:pt x="199" y="20999"/>
                  <a:pt x="199" y="20999"/>
                </a:cubicBezTo>
                <a:cubicBezTo>
                  <a:pt x="199" y="20999"/>
                  <a:pt x="199" y="20999"/>
                  <a:pt x="227" y="20999"/>
                </a:cubicBezTo>
                <a:lnTo>
                  <a:pt x="255" y="20999"/>
                </a:lnTo>
                <a:cubicBezTo>
                  <a:pt x="255" y="20971"/>
                  <a:pt x="255" y="20971"/>
                  <a:pt x="255" y="20942"/>
                </a:cubicBezTo>
                <a:cubicBezTo>
                  <a:pt x="141" y="20830"/>
                  <a:pt x="141" y="20830"/>
                  <a:pt x="141" y="20830"/>
                </a:cubicBezTo>
                <a:cubicBezTo>
                  <a:pt x="2919" y="20830"/>
                  <a:pt x="5526" y="19724"/>
                  <a:pt x="7453" y="17769"/>
                </a:cubicBezTo>
                <a:cubicBezTo>
                  <a:pt x="9436" y="15785"/>
                  <a:pt x="10484" y="13177"/>
                  <a:pt x="10484" y="10372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115" y="1561547"/>
            <a:ext cx="2614668" cy="2614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1704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zh-CN" altLang="en-US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自</a:t>
            </a:r>
            <a:r>
              <a:rPr lang="en-US" altLang="zh-CN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901</a:t>
            </a:r>
            <a:r>
              <a:rPr lang="zh-CN" altLang="en-US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年起，为</a:t>
            </a:r>
            <a:r>
              <a:rPr lang="en-US" altLang="zh-CN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500+</a:t>
            </a:r>
            <a:r>
              <a:rPr lang="zh-CN" altLang="en-US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位诺贝尔奖得主出版著作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41120" y="5850785"/>
            <a:ext cx="66824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itchFamily="34" charset="-122"/>
                <a:ea typeface="Microsoft YaHei" pitchFamily="34" charset="-122"/>
              </a:rPr>
              <a:t>*资料来源：</a:t>
            </a:r>
            <a:r>
              <a: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itchFamily="34" charset="-122"/>
                <a:ea typeface="Microsoft YaHei" pitchFamily="34" charset="-122"/>
              </a:rPr>
              <a:t>http://www.wiley.com/WileyCDA/Section/id-323991.html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12" y="878767"/>
            <a:ext cx="10905468" cy="4972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3414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5F7BA7-3BC8-4C02-BDEE-1EA73D4632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5997"/>
            <a:ext cx="12192000" cy="57746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8F112D5-27D2-41F1-B291-8838AF8B13E3}"/>
              </a:ext>
            </a:extLst>
          </p:cNvPr>
          <p:cNvSpPr txBox="1"/>
          <p:nvPr/>
        </p:nvSpPr>
        <p:spPr>
          <a:xfrm>
            <a:off x="5911701" y="4671072"/>
            <a:ext cx="5730950" cy="46165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r>
              <a:rPr lang="en-US" sz="2400" b="1" dirty="0">
                <a:solidFill>
                  <a:srgbClr val="FF33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ttp</a:t>
            </a:r>
            <a:r>
              <a:rPr lang="en-US" altLang="zh-CN" sz="2400" b="1" dirty="0">
                <a:solidFill>
                  <a:srgbClr val="FF33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</a:t>
            </a:r>
            <a:r>
              <a:rPr lang="en-US" sz="2400" b="1" dirty="0">
                <a:solidFill>
                  <a:srgbClr val="FF33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://onlinelibrary.wiley.com/</a:t>
            </a:r>
          </a:p>
        </p:txBody>
      </p:sp>
    </p:spTree>
    <p:extLst>
      <p:ext uri="{BB962C8B-B14F-4D97-AF65-F5344CB8AC3E}">
        <p14:creationId xmlns:p14="http://schemas.microsoft.com/office/powerpoint/2010/main" val="14667369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6</a:t>
            </a:fld>
            <a:endParaRPr lang="en-US" dirty="0"/>
          </a:p>
        </p:txBody>
      </p:sp>
      <p:cxnSp>
        <p:nvCxnSpPr>
          <p:cNvPr id="3" name="Straight Connector 2"/>
          <p:cNvCxnSpPr/>
          <p:nvPr/>
        </p:nvCxnSpPr>
        <p:spPr>
          <a:xfrm>
            <a:off x="3671248" y="447421"/>
            <a:ext cx="0" cy="27432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2"/>
          <p:cNvSpPr txBox="1">
            <a:spLocks/>
          </p:cNvSpPr>
          <p:nvPr/>
        </p:nvSpPr>
        <p:spPr>
          <a:xfrm>
            <a:off x="3680392" y="450596"/>
            <a:ext cx="6778058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Wiley</a:t>
            </a:r>
            <a:r>
              <a:rPr lang="zh-CN" altLang="en-US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在</a:t>
            </a:r>
            <a:r>
              <a:rPr lang="en-US" altLang="zh-CN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017《</a:t>
            </a:r>
            <a:r>
              <a:rPr lang="zh-CN" altLang="en-US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期刊引证报告</a:t>
            </a:r>
            <a:r>
              <a:rPr lang="en-US" altLang="zh-CN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》(JCR)</a:t>
            </a:r>
            <a:r>
              <a:rPr lang="zh-CN" altLang="en-US" sz="2800" b="1" dirty="0">
                <a:solidFill>
                  <a:schemeClr val="accent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81889"/>
            <a:ext cx="3428183" cy="6217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6"/>
          <p:cNvSpPr>
            <a:spLocks noChangeArrowheads="1"/>
          </p:cNvSpPr>
          <p:nvPr/>
        </p:nvSpPr>
        <p:spPr bwMode="auto">
          <a:xfrm rot="11919342" flipH="1">
            <a:off x="1072816" y="4401564"/>
            <a:ext cx="2105688" cy="4216690"/>
          </a:xfrm>
          <a:custGeom>
            <a:avLst/>
            <a:gdLst>
              <a:gd name="T0" fmla="*/ 10484 w 10485"/>
              <a:gd name="T1" fmla="*/ 10372 h 21000"/>
              <a:gd name="T2" fmla="*/ 10484 w 10485"/>
              <a:gd name="T3" fmla="*/ 10372 h 21000"/>
              <a:gd name="T4" fmla="*/ 7396 w 10485"/>
              <a:gd name="T5" fmla="*/ 3033 h 21000"/>
              <a:gd name="T6" fmla="*/ 85 w 10485"/>
              <a:gd name="T7" fmla="*/ 0 h 21000"/>
              <a:gd name="T8" fmla="*/ 28 w 10485"/>
              <a:gd name="T9" fmla="*/ 0 h 21000"/>
              <a:gd name="T10" fmla="*/ 0 w 10485"/>
              <a:gd name="T11" fmla="*/ 56 h 21000"/>
              <a:gd name="T12" fmla="*/ 28 w 10485"/>
              <a:gd name="T13" fmla="*/ 85 h 21000"/>
              <a:gd name="T14" fmla="*/ 28 w 10485"/>
              <a:gd name="T15" fmla="*/ 85 h 21000"/>
              <a:gd name="T16" fmla="*/ 85 w 10485"/>
              <a:gd name="T17" fmla="*/ 85 h 21000"/>
              <a:gd name="T18" fmla="*/ 7339 w 10485"/>
              <a:gd name="T19" fmla="*/ 3089 h 21000"/>
              <a:gd name="T20" fmla="*/ 10400 w 10485"/>
              <a:gd name="T21" fmla="*/ 10372 h 21000"/>
              <a:gd name="T22" fmla="*/ 7396 w 10485"/>
              <a:gd name="T23" fmla="*/ 17712 h 21000"/>
              <a:gd name="T24" fmla="*/ 141 w 10485"/>
              <a:gd name="T25" fmla="*/ 20744 h 21000"/>
              <a:gd name="T26" fmla="*/ 255 w 10485"/>
              <a:gd name="T27" fmla="*/ 20659 h 21000"/>
              <a:gd name="T28" fmla="*/ 255 w 10485"/>
              <a:gd name="T29" fmla="*/ 20603 h 21000"/>
              <a:gd name="T30" fmla="*/ 199 w 10485"/>
              <a:gd name="T31" fmla="*/ 20603 h 21000"/>
              <a:gd name="T32" fmla="*/ 28 w 10485"/>
              <a:gd name="T33" fmla="*/ 20772 h 21000"/>
              <a:gd name="T34" fmla="*/ 0 w 10485"/>
              <a:gd name="T35" fmla="*/ 20800 h 21000"/>
              <a:gd name="T36" fmla="*/ 28 w 10485"/>
              <a:gd name="T37" fmla="*/ 20830 h 21000"/>
              <a:gd name="T38" fmla="*/ 199 w 10485"/>
              <a:gd name="T39" fmla="*/ 20999 h 21000"/>
              <a:gd name="T40" fmla="*/ 227 w 10485"/>
              <a:gd name="T41" fmla="*/ 20999 h 21000"/>
              <a:gd name="T42" fmla="*/ 255 w 10485"/>
              <a:gd name="T43" fmla="*/ 20999 h 21000"/>
              <a:gd name="T44" fmla="*/ 255 w 10485"/>
              <a:gd name="T45" fmla="*/ 20942 h 21000"/>
              <a:gd name="T46" fmla="*/ 141 w 10485"/>
              <a:gd name="T47" fmla="*/ 20830 h 21000"/>
              <a:gd name="T48" fmla="*/ 7453 w 10485"/>
              <a:gd name="T49" fmla="*/ 17769 h 21000"/>
              <a:gd name="T50" fmla="*/ 10484 w 10485"/>
              <a:gd name="T51" fmla="*/ 10372 h 2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0485" h="21000">
                <a:moveTo>
                  <a:pt x="10484" y="10372"/>
                </a:moveTo>
                <a:lnTo>
                  <a:pt x="10484" y="10372"/>
                </a:lnTo>
                <a:cubicBezTo>
                  <a:pt x="10484" y="7595"/>
                  <a:pt x="9380" y="4988"/>
                  <a:pt x="7396" y="3033"/>
                </a:cubicBezTo>
                <a:cubicBezTo>
                  <a:pt x="5441" y="1076"/>
                  <a:pt x="2834" y="0"/>
                  <a:pt x="85" y="0"/>
                </a:cubicBezTo>
                <a:cubicBezTo>
                  <a:pt x="56" y="0"/>
                  <a:pt x="56" y="0"/>
                  <a:pt x="28" y="0"/>
                </a:cubicBezTo>
                <a:cubicBezTo>
                  <a:pt x="0" y="28"/>
                  <a:pt x="0" y="28"/>
                  <a:pt x="0" y="56"/>
                </a:cubicBezTo>
                <a:cubicBezTo>
                  <a:pt x="0" y="85"/>
                  <a:pt x="0" y="85"/>
                  <a:pt x="28" y="85"/>
                </a:cubicBezTo>
                <a:lnTo>
                  <a:pt x="28" y="85"/>
                </a:lnTo>
                <a:cubicBezTo>
                  <a:pt x="56" y="85"/>
                  <a:pt x="56" y="85"/>
                  <a:pt x="85" y="85"/>
                </a:cubicBezTo>
                <a:cubicBezTo>
                  <a:pt x="2806" y="85"/>
                  <a:pt x="5413" y="1162"/>
                  <a:pt x="7339" y="3089"/>
                </a:cubicBezTo>
                <a:cubicBezTo>
                  <a:pt x="9294" y="5044"/>
                  <a:pt x="10400" y="7623"/>
                  <a:pt x="10400" y="10372"/>
                </a:cubicBezTo>
                <a:cubicBezTo>
                  <a:pt x="10428" y="13149"/>
                  <a:pt x="9351" y="15757"/>
                  <a:pt x="7396" y="17712"/>
                </a:cubicBezTo>
                <a:cubicBezTo>
                  <a:pt x="5469" y="19667"/>
                  <a:pt x="2890" y="20744"/>
                  <a:pt x="141" y="20744"/>
                </a:cubicBezTo>
                <a:cubicBezTo>
                  <a:pt x="255" y="20659"/>
                  <a:pt x="255" y="20659"/>
                  <a:pt x="255" y="20659"/>
                </a:cubicBezTo>
                <a:cubicBezTo>
                  <a:pt x="255" y="20631"/>
                  <a:pt x="255" y="20603"/>
                  <a:pt x="255" y="20603"/>
                </a:cubicBezTo>
                <a:cubicBezTo>
                  <a:pt x="227" y="20574"/>
                  <a:pt x="199" y="20574"/>
                  <a:pt x="199" y="20603"/>
                </a:cubicBezTo>
                <a:cubicBezTo>
                  <a:pt x="28" y="20772"/>
                  <a:pt x="28" y="20772"/>
                  <a:pt x="28" y="20772"/>
                </a:cubicBezTo>
                <a:cubicBezTo>
                  <a:pt x="0" y="20772"/>
                  <a:pt x="0" y="20800"/>
                  <a:pt x="0" y="20800"/>
                </a:cubicBezTo>
                <a:cubicBezTo>
                  <a:pt x="0" y="20800"/>
                  <a:pt x="0" y="20830"/>
                  <a:pt x="28" y="20830"/>
                </a:cubicBezTo>
                <a:cubicBezTo>
                  <a:pt x="199" y="20999"/>
                  <a:pt x="199" y="20999"/>
                  <a:pt x="199" y="20999"/>
                </a:cubicBezTo>
                <a:cubicBezTo>
                  <a:pt x="199" y="20999"/>
                  <a:pt x="199" y="20999"/>
                  <a:pt x="227" y="20999"/>
                </a:cubicBezTo>
                <a:lnTo>
                  <a:pt x="255" y="20999"/>
                </a:lnTo>
                <a:cubicBezTo>
                  <a:pt x="255" y="20971"/>
                  <a:pt x="255" y="20971"/>
                  <a:pt x="255" y="20942"/>
                </a:cubicBezTo>
                <a:cubicBezTo>
                  <a:pt x="141" y="20830"/>
                  <a:pt x="141" y="20830"/>
                  <a:pt x="141" y="20830"/>
                </a:cubicBezTo>
                <a:cubicBezTo>
                  <a:pt x="2919" y="20830"/>
                  <a:pt x="5526" y="19724"/>
                  <a:pt x="7453" y="17769"/>
                </a:cubicBezTo>
                <a:cubicBezTo>
                  <a:pt x="9436" y="15785"/>
                  <a:pt x="10484" y="13177"/>
                  <a:pt x="10484" y="10372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-351368" y="4544704"/>
            <a:ext cx="3211788" cy="3200855"/>
            <a:chOff x="-296776" y="4534525"/>
            <a:chExt cx="3211788" cy="3200855"/>
          </a:xfrm>
        </p:grpSpPr>
        <p:sp>
          <p:nvSpPr>
            <p:cNvPr id="11" name="Arc 10"/>
            <p:cNvSpPr/>
            <p:nvPr userDrawn="1"/>
          </p:nvSpPr>
          <p:spPr>
            <a:xfrm>
              <a:off x="-296776" y="4534525"/>
              <a:ext cx="3200400" cy="3200400"/>
            </a:xfrm>
            <a:prstGeom prst="arc">
              <a:avLst/>
            </a:pr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Arc 11"/>
            <p:cNvSpPr/>
            <p:nvPr userDrawn="1"/>
          </p:nvSpPr>
          <p:spPr>
            <a:xfrm flipH="1">
              <a:off x="-285388" y="4534980"/>
              <a:ext cx="3200400" cy="3200400"/>
            </a:xfrm>
            <a:prstGeom prst="arc">
              <a:avLst/>
            </a:pr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4868" y="1142656"/>
            <a:ext cx="7761287" cy="491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18205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923544" y="457200"/>
            <a:ext cx="10921126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b="1" dirty="0">
                <a:solidFill>
                  <a:srgbClr val="FF33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科学技术类期刊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4536951" y="241643"/>
            <a:ext cx="3124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815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种期刊*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14399" y="5867403"/>
            <a:ext cx="95576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*本数据仅供参考，期刊数量以</a:t>
            </a:r>
            <a:r>
              <a:rPr lang="en-US" altLang="zh-CN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ey </a:t>
            </a:r>
            <a:r>
              <a: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客户经理提供最终方案为准。数据来源：</a:t>
            </a:r>
            <a:r>
              <a:rPr lang="en-US" altLang="zh-CN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ttp://olabout.wiley.com/WileyCDA/Section/id-406089.html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9396" y="3654109"/>
            <a:ext cx="1181246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3864" y="3654109"/>
            <a:ext cx="1178723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1327" y="3654109"/>
            <a:ext cx="1162751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5736" y="1250325"/>
            <a:ext cx="1154978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0275" y="3654109"/>
            <a:ext cx="1179261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6951" y="3654109"/>
            <a:ext cx="1098474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6951" y="1250325"/>
            <a:ext cx="1098474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681" y="3654109"/>
            <a:ext cx="1154978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1648" y="1250325"/>
            <a:ext cx="1176742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9980" y="1250325"/>
            <a:ext cx="1179851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792" y="1250325"/>
            <a:ext cx="1182756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3072" y="1250325"/>
            <a:ext cx="1179261" cy="15544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7" name="Rectangle 46"/>
          <p:cNvSpPr/>
          <p:nvPr/>
        </p:nvSpPr>
        <p:spPr>
          <a:xfrm>
            <a:off x="17698" y="2863242"/>
            <a:ext cx="21921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EY INTERDISCIPLINARY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VIEWS-COMPUTATIONAL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OLECULAR SCIENCE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Wiley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跨学科评论：计算分子科学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57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数学与计算生物学</a:t>
            </a:r>
          </a:p>
        </p:txBody>
      </p:sp>
      <p:sp>
        <p:nvSpPr>
          <p:cNvPr id="48" name="Rectangle 47"/>
          <p:cNvSpPr/>
          <p:nvPr/>
        </p:nvSpPr>
        <p:spPr>
          <a:xfrm>
            <a:off x="2009781" y="2863242"/>
            <a:ext cx="21921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VIEWS OF GEOPHYSICS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地球物理学评论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84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地球化学与地球物理</a:t>
            </a:r>
          </a:p>
        </p:txBody>
      </p:sp>
      <p:sp>
        <p:nvSpPr>
          <p:cNvPr id="49" name="Rectangle 48"/>
          <p:cNvSpPr/>
          <p:nvPr/>
        </p:nvSpPr>
        <p:spPr>
          <a:xfrm>
            <a:off x="3990137" y="2863242"/>
            <a:ext cx="21921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LAND DEGRADATION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 DEVELOPMENT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土质退化与开发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34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土壤科学</a:t>
            </a:r>
          </a:p>
        </p:txBody>
      </p:sp>
      <p:sp>
        <p:nvSpPr>
          <p:cNvPr id="50" name="Rectangle 49"/>
          <p:cNvSpPr/>
          <p:nvPr/>
        </p:nvSpPr>
        <p:spPr>
          <a:xfrm>
            <a:off x="6007174" y="2863242"/>
            <a:ext cx="21921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MASS SPECTROMETRY REVIEWS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质谱学评论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41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光谱学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455838" y="241643"/>
            <a:ext cx="412003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44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60+</a:t>
            </a:r>
            <a:r>
              <a:rPr lang="zh-CN" altLang="en-US" sz="24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家学协会合作伙伴</a:t>
            </a:r>
            <a:endParaRPr lang="en-US" sz="2400" dirty="0">
              <a:solidFill>
                <a:srgbClr val="000000">
                  <a:lumMod val="65000"/>
                  <a:lumOff val="35000"/>
                </a:srgb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013854" y="2863242"/>
            <a:ext cx="21921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ISH AND FISHERIES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鱼类与渔业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50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渔业</a:t>
            </a:r>
          </a:p>
        </p:txBody>
      </p:sp>
      <p:sp>
        <p:nvSpPr>
          <p:cNvPr id="36" name="Rectangle 35"/>
          <p:cNvSpPr/>
          <p:nvPr/>
        </p:nvSpPr>
        <p:spPr>
          <a:xfrm>
            <a:off x="9989012" y="2863242"/>
            <a:ext cx="21921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GLOBAL CHANGE BIOLOGY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生物学全球变化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53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生物多样性保护科学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7698" y="5170702"/>
            <a:ext cx="21921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MPUTER-AIDED CIVIL AND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NFRASTRUCTURE ENGINEERING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计算机辅助土木和基础结构工程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61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建筑与建筑技术；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34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交通科技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009781" y="5170702"/>
            <a:ext cx="21921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DLIFE MONOGRAPHS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野生动物专著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162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动物学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990137" y="5170702"/>
            <a:ext cx="21921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ULTRASOUND IN OBSTETRICS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 GYNECOLOGY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超声波在产科学和妇科学中的应用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31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声学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007174" y="5170702"/>
            <a:ext cx="21921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ATER RESOURCES RESEARCH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水资源研究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20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湖沼学</a:t>
            </a:r>
          </a:p>
        </p:txBody>
      </p:sp>
      <p:sp>
        <p:nvSpPr>
          <p:cNvPr id="41" name="Rectangle 40"/>
          <p:cNvSpPr/>
          <p:nvPr/>
        </p:nvSpPr>
        <p:spPr>
          <a:xfrm>
            <a:off x="8013854" y="5170702"/>
            <a:ext cx="21921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ALEOCEANOGRAPHY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古海洋学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53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古生物学</a:t>
            </a:r>
          </a:p>
        </p:txBody>
      </p:sp>
      <p:sp>
        <p:nvSpPr>
          <p:cNvPr id="42" name="Rectangle 41"/>
          <p:cNvSpPr/>
          <p:nvPr/>
        </p:nvSpPr>
        <p:spPr>
          <a:xfrm>
            <a:off x="9999898" y="5170702"/>
            <a:ext cx="21921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NTERNATIONAL JOURNAL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 ENERGY RESEARCH</a:t>
            </a:r>
          </a:p>
          <a:p>
            <a:pPr algn="ctr"/>
            <a:r>
              <a: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国际能源研究杂志</a:t>
            </a:r>
            <a:r>
              <a:rPr lang="en-US" altLang="zh-CN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33 </a:t>
            </a:r>
            <a:r>
              <a:rPr lang="zh-CN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核科学与技术</a:t>
            </a:r>
          </a:p>
        </p:txBody>
      </p:sp>
      <p:sp>
        <p:nvSpPr>
          <p:cNvPr id="43" name="Oval 42"/>
          <p:cNvSpPr/>
          <p:nvPr/>
        </p:nvSpPr>
        <p:spPr>
          <a:xfrm>
            <a:off x="1128039" y="1857747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4.016</a:t>
            </a:r>
          </a:p>
        </p:txBody>
      </p:sp>
      <p:sp>
        <p:nvSpPr>
          <p:cNvPr id="44" name="Oval 43"/>
          <p:cNvSpPr/>
          <p:nvPr/>
        </p:nvSpPr>
        <p:spPr>
          <a:xfrm>
            <a:off x="3172046" y="1884077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2.34</a:t>
            </a:r>
          </a:p>
        </p:txBody>
      </p:sp>
      <p:sp>
        <p:nvSpPr>
          <p:cNvPr id="45" name="Oval 44"/>
          <p:cNvSpPr/>
          <p:nvPr/>
        </p:nvSpPr>
        <p:spPr>
          <a:xfrm>
            <a:off x="5197341" y="1857747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9.787</a:t>
            </a:r>
          </a:p>
        </p:txBody>
      </p:sp>
      <p:sp>
        <p:nvSpPr>
          <p:cNvPr id="46" name="Oval 45"/>
          <p:cNvSpPr/>
          <p:nvPr/>
        </p:nvSpPr>
        <p:spPr>
          <a:xfrm>
            <a:off x="7241507" y="1857747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9.373</a:t>
            </a:r>
          </a:p>
        </p:txBody>
      </p:sp>
      <p:sp>
        <p:nvSpPr>
          <p:cNvPr id="51" name="Oval 50"/>
          <p:cNvSpPr/>
          <p:nvPr/>
        </p:nvSpPr>
        <p:spPr>
          <a:xfrm>
            <a:off x="9242631" y="1857747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9.013</a:t>
            </a:r>
          </a:p>
        </p:txBody>
      </p:sp>
      <p:sp>
        <p:nvSpPr>
          <p:cNvPr id="52" name="Oval 51"/>
          <p:cNvSpPr/>
          <p:nvPr/>
        </p:nvSpPr>
        <p:spPr>
          <a:xfrm>
            <a:off x="11221481" y="1857747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8.502</a:t>
            </a:r>
          </a:p>
        </p:txBody>
      </p:sp>
      <p:sp>
        <p:nvSpPr>
          <p:cNvPr id="53" name="Oval 52"/>
          <p:cNvSpPr/>
          <p:nvPr/>
        </p:nvSpPr>
        <p:spPr>
          <a:xfrm>
            <a:off x="1106267" y="425326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.786</a:t>
            </a:r>
          </a:p>
        </p:txBody>
      </p:sp>
      <p:sp>
        <p:nvSpPr>
          <p:cNvPr id="54" name="Oval 53"/>
          <p:cNvSpPr/>
          <p:nvPr/>
        </p:nvSpPr>
        <p:spPr>
          <a:xfrm>
            <a:off x="3150274" y="427959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.75</a:t>
            </a:r>
          </a:p>
        </p:txBody>
      </p:sp>
      <p:sp>
        <p:nvSpPr>
          <p:cNvPr id="55" name="Oval 54"/>
          <p:cNvSpPr/>
          <p:nvPr/>
        </p:nvSpPr>
        <p:spPr>
          <a:xfrm>
            <a:off x="5175569" y="425326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.71</a:t>
            </a:r>
          </a:p>
        </p:txBody>
      </p:sp>
      <p:sp>
        <p:nvSpPr>
          <p:cNvPr id="56" name="Oval 55"/>
          <p:cNvSpPr/>
          <p:nvPr/>
        </p:nvSpPr>
        <p:spPr>
          <a:xfrm>
            <a:off x="7219735" y="425326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.397</a:t>
            </a:r>
          </a:p>
        </p:txBody>
      </p:sp>
      <p:sp>
        <p:nvSpPr>
          <p:cNvPr id="57" name="Oval 56"/>
          <p:cNvSpPr/>
          <p:nvPr/>
        </p:nvSpPr>
        <p:spPr>
          <a:xfrm>
            <a:off x="9220859" y="425326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.254</a:t>
            </a:r>
          </a:p>
        </p:txBody>
      </p:sp>
      <p:sp>
        <p:nvSpPr>
          <p:cNvPr id="58" name="Oval 57"/>
          <p:cNvSpPr/>
          <p:nvPr/>
        </p:nvSpPr>
        <p:spPr>
          <a:xfrm>
            <a:off x="11199709" y="425326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.598</a:t>
            </a:r>
          </a:p>
        </p:txBody>
      </p:sp>
    </p:spTree>
    <p:extLst>
      <p:ext uri="{BB962C8B-B14F-4D97-AF65-F5344CB8AC3E}">
        <p14:creationId xmlns:p14="http://schemas.microsoft.com/office/powerpoint/2010/main" val="721642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923544" y="457200"/>
            <a:ext cx="10921126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b="1" dirty="0">
                <a:solidFill>
                  <a:srgbClr val="FF33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人文社科类期刊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925278" y="1219205"/>
            <a:ext cx="425632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74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种期刊*</a:t>
            </a:r>
            <a:endParaRPr lang="en-US" altLang="zh-CN" sz="2400" dirty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14399" y="5867403"/>
            <a:ext cx="95576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*本数据仅供参考，期刊数量以</a:t>
            </a:r>
            <a:r>
              <a:rPr lang="en-US" altLang="zh-CN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ey </a:t>
            </a:r>
            <a:r>
              <a: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客户经理提供最终方案为准。数据来源：</a:t>
            </a:r>
            <a:r>
              <a:rPr lang="en-US" altLang="zh-CN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ttp://olabout.wiley.com/WileyCDA/Section/id-406089.html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0994" y="2541140"/>
            <a:ext cx="1298137" cy="181051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9545" y="2541140"/>
            <a:ext cx="1258306" cy="181051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1819" y="2541140"/>
            <a:ext cx="1263738" cy="181051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7592" y="2541140"/>
            <a:ext cx="1394094" cy="181051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10"/>
          <p:cNvSpPr/>
          <p:nvPr/>
        </p:nvSpPr>
        <p:spPr>
          <a:xfrm>
            <a:off x="1617900" y="4468452"/>
            <a:ext cx="19812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OURNAL OF FINANCE</a:t>
            </a:r>
          </a:p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金融杂志</a:t>
            </a:r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96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商业，金融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44039" y="4468452"/>
            <a:ext cx="1981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MERICAN JOURNAL</a:t>
            </a:r>
          </a:p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 POLITICAL SCIENCE</a:t>
            </a:r>
          </a:p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美国政治科学杂志</a:t>
            </a:r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165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政治学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51818" y="4468452"/>
            <a:ext cx="209083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RIMINOLOGY</a:t>
            </a:r>
          </a:p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犯罪学</a:t>
            </a:r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58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犯罪与刑罚学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678098" y="4468452"/>
            <a:ext cx="1981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CONOMIC HISTORY REVIEW</a:t>
            </a:r>
          </a:p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经济史评论</a:t>
            </a:r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JCR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87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历史学；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35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社会科学史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2736557" y="341092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6.043</a:t>
            </a:r>
          </a:p>
        </p:txBody>
      </p:sp>
      <p:sp>
        <p:nvSpPr>
          <p:cNvPr id="16" name="Oval 15"/>
          <p:cNvSpPr/>
          <p:nvPr/>
        </p:nvSpPr>
        <p:spPr>
          <a:xfrm>
            <a:off x="5074486" y="343725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.044</a:t>
            </a:r>
          </a:p>
        </p:txBody>
      </p:sp>
      <p:sp>
        <p:nvSpPr>
          <p:cNvPr id="17" name="Oval 16"/>
          <p:cNvSpPr/>
          <p:nvPr/>
        </p:nvSpPr>
        <p:spPr>
          <a:xfrm>
            <a:off x="7371931" y="341092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.019</a:t>
            </a:r>
          </a:p>
        </p:txBody>
      </p:sp>
      <p:sp>
        <p:nvSpPr>
          <p:cNvPr id="18" name="Oval 17"/>
          <p:cNvSpPr/>
          <p:nvPr/>
        </p:nvSpPr>
        <p:spPr>
          <a:xfrm>
            <a:off x="9840651" y="3410922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.233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928866" y="1219205"/>
            <a:ext cx="412003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44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80+</a:t>
            </a:r>
            <a:r>
              <a:rPr lang="zh-CN" altLang="en-US" sz="24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家学协会合作伙伴</a:t>
            </a:r>
            <a:endParaRPr lang="en-US" sz="2400" dirty="0">
              <a:solidFill>
                <a:srgbClr val="000000">
                  <a:lumMod val="65000"/>
                  <a:lumOff val="35000"/>
                </a:srgb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251272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81C1D-71AE-404E-8BFC-9F552A8A6EE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923544" y="457200"/>
            <a:ext cx="10921126" cy="338328"/>
          </a:xfrm>
          <a:prstGeom prst="rect">
            <a:avLst/>
          </a:prstGeom>
        </p:spPr>
        <p:txBody>
          <a:bodyPr lIns="182880" rIns="18288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 i="0" kern="1200" baseline="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800" b="1" dirty="0">
                <a:solidFill>
                  <a:srgbClr val="FF33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医学护理类期刊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914400" y="482600"/>
            <a:ext cx="0" cy="27432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1072247" y="1302840"/>
            <a:ext cx="3124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408</a:t>
            </a:r>
            <a:r>
              <a:rPr lang="zh-CN" alt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种期刊*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14399" y="5867403"/>
            <a:ext cx="95576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*本数据仅供参考，期刊数量以</a:t>
            </a:r>
            <a:r>
              <a:rPr lang="en-US" altLang="zh-CN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iley </a:t>
            </a:r>
            <a:r>
              <a:rPr lang="zh-CN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客户经理提供最终方案为准。数据来源：</a:t>
            </a:r>
            <a:r>
              <a:rPr lang="en-US" altLang="zh-CN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ttp://olabout.wiley.com/WileyCDA/Section/id-406089.html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1227" y="2604986"/>
            <a:ext cx="1349829" cy="180702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3232" y="2604986"/>
            <a:ext cx="1373157" cy="180702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3545" y="2604986"/>
            <a:ext cx="1355271" cy="180702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7381" y="2604986"/>
            <a:ext cx="1370850" cy="180702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3430" y="2604986"/>
            <a:ext cx="1370224" cy="180702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Rectangle 11"/>
          <p:cNvSpPr/>
          <p:nvPr/>
        </p:nvSpPr>
        <p:spPr>
          <a:xfrm>
            <a:off x="805541" y="4519111"/>
            <a:ext cx="1981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A-A CANCER JOURNAL</a:t>
            </a:r>
          </a:p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FOR CLINICIANS</a:t>
            </a:r>
          </a:p>
          <a:p>
            <a:pPr algn="ctr"/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CA-</a:t>
            </a:r>
            <a:r>
              <a:rPr lang="zh-CN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临床医师专属癌症期刊</a:t>
            </a:r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JCR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217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肿瘤学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79942" y="4519111"/>
            <a:ext cx="1937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WORLD PSYCHIATRY</a:t>
            </a:r>
          </a:p>
          <a:p>
            <a:pPr algn="ctr"/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世界精神病学</a:t>
            </a:r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JCR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142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精神病学；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139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精神病学（社会科学）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056931" y="4519111"/>
            <a:ext cx="19257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DDICTION</a:t>
            </a:r>
          </a:p>
          <a:p>
            <a:pPr algn="ctr"/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成瘾</a:t>
            </a:r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JCR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18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药物滥用；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34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药物滥用（社会科学）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279831" y="4519111"/>
            <a:ext cx="18859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PERSPECTIVES ON SEXUAL</a:t>
            </a:r>
          </a:p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ND REPRODUCTIVE HEALTH</a:t>
            </a:r>
          </a:p>
          <a:p>
            <a:pPr algn="ctr"/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性与生殖健康展望</a:t>
            </a:r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JCR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26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人口学；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43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家庭研究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296409" y="4519111"/>
            <a:ext cx="232954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EAD AND NECK-JOURNAL FOR</a:t>
            </a:r>
          </a:p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THE SCIENCES AND SPECIALTIES</a:t>
            </a:r>
          </a:p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OF THE HEAD AND NECK</a:t>
            </a:r>
          </a:p>
          <a:p>
            <a:pPr algn="ctr"/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头与颈</a:t>
            </a:r>
            <a:r>
              <a:rPr lang="en-US" altLang="zh-CN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》</a:t>
            </a:r>
          </a:p>
          <a:p>
            <a:pPr algn="ctr"/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17 JCR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排名：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/42 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耳鼻喉科学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945970" y="3497614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87.04</a:t>
            </a:r>
          </a:p>
        </p:txBody>
      </p:sp>
      <p:sp>
        <p:nvSpPr>
          <p:cNvPr id="18" name="Oval 17"/>
          <p:cNvSpPr/>
          <p:nvPr/>
        </p:nvSpPr>
        <p:spPr>
          <a:xfrm>
            <a:off x="4186075" y="3508500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6.561</a:t>
            </a:r>
          </a:p>
        </p:txBody>
      </p:sp>
      <p:sp>
        <p:nvSpPr>
          <p:cNvPr id="19" name="Oval 18"/>
          <p:cNvSpPr/>
          <p:nvPr/>
        </p:nvSpPr>
        <p:spPr>
          <a:xfrm>
            <a:off x="6261332" y="3497614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5.789</a:t>
            </a:r>
          </a:p>
        </p:txBody>
      </p:sp>
      <p:sp>
        <p:nvSpPr>
          <p:cNvPr id="20" name="Oval 19"/>
          <p:cNvSpPr/>
          <p:nvPr/>
        </p:nvSpPr>
        <p:spPr>
          <a:xfrm>
            <a:off x="8451031" y="3497614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.571</a:t>
            </a:r>
          </a:p>
        </p:txBody>
      </p:sp>
      <p:sp>
        <p:nvSpPr>
          <p:cNvPr id="21" name="Oval 20"/>
          <p:cNvSpPr/>
          <p:nvPr/>
        </p:nvSpPr>
        <p:spPr>
          <a:xfrm>
            <a:off x="10681616" y="3508500"/>
            <a:ext cx="914400" cy="9144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IF</a:t>
            </a:r>
          </a:p>
          <a:p>
            <a:pPr algn="ctr"/>
            <a:r>
              <a:rPr 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.376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928866" y="1302839"/>
            <a:ext cx="412003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4400" b="1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95+</a:t>
            </a:r>
            <a:r>
              <a:rPr lang="zh-CN" altLang="en-US" sz="2400" dirty="0">
                <a:solidFill>
                  <a:srgbClr val="000000">
                    <a:lumMod val="65000"/>
                    <a:lumOff val="35000"/>
                  </a:srgb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家学协会合作伙伴</a:t>
            </a:r>
            <a:endParaRPr lang="en-US" sz="2400" dirty="0">
              <a:solidFill>
                <a:srgbClr val="000000">
                  <a:lumMod val="65000"/>
                  <a:lumOff val="35000"/>
                </a:srgb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34553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heme/theme1.xml><?xml version="1.0" encoding="utf-8"?>
<a:theme xmlns:a="http://schemas.openxmlformats.org/drawingml/2006/main" name="Wiley-Corporate--Green-PC">
  <a:themeElements>
    <a:clrScheme name="Wiley Green Theme">
      <a:dk1>
        <a:srgbClr val="000000"/>
      </a:dk1>
      <a:lt1>
        <a:srgbClr val="FFFFFF"/>
      </a:lt1>
      <a:dk2>
        <a:srgbClr val="414146"/>
      </a:dk2>
      <a:lt2>
        <a:srgbClr val="D8D9DA"/>
      </a:lt2>
      <a:accent1>
        <a:srgbClr val="07A363"/>
      </a:accent1>
      <a:accent2>
        <a:srgbClr val="00E788"/>
      </a:accent2>
      <a:accent3>
        <a:srgbClr val="009CA9"/>
      </a:accent3>
      <a:accent4>
        <a:srgbClr val="057145"/>
      </a:accent4>
      <a:accent5>
        <a:srgbClr val="055174"/>
      </a:accent5>
      <a:accent6>
        <a:srgbClr val="006D76"/>
      </a:accent6>
      <a:hlink>
        <a:srgbClr val="0563C1"/>
      </a:hlink>
      <a:folHlink>
        <a:srgbClr val="954F72"/>
      </a:folHlink>
    </a:clrScheme>
    <a:fontScheme name="Franklin Gothic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E90945BD-0484-E049-AA3E-0ABB8576BD81}" vid="{840090BB-2BFF-7144-B9C7-53833B7EAC3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03e_ xmlns="58673743-dc10-4083-bb52-600a2f951d3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E35219FBB1C54EA08DAFD1023275AA" ma:contentTypeVersion="1" ma:contentTypeDescription="Create a new document." ma:contentTypeScope="" ma:versionID="8caab97f07feb48f43c933dee81170da">
  <xsd:schema xmlns:xsd="http://www.w3.org/2001/XMLSchema" xmlns:xs="http://www.w3.org/2001/XMLSchema" xmlns:p="http://schemas.microsoft.com/office/2006/metadata/properties" xmlns:ns2="58673743-dc10-4083-bb52-600a2f951d3c" targetNamespace="http://schemas.microsoft.com/office/2006/metadata/properties" ma:root="true" ma:fieldsID="daa94aa8696aacf53b9453ea7db06d73" ns2:_="">
    <xsd:import namespace="58673743-dc10-4083-bb52-600a2f951d3c"/>
    <xsd:element name="properties">
      <xsd:complexType>
        <xsd:sequence>
          <xsd:element name="documentManagement">
            <xsd:complexType>
              <xsd:all>
                <xsd:element ref="ns2:_x003e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673743-dc10-4083-bb52-600a2f951d3c" elementFormDefault="qualified">
    <xsd:import namespace="http://schemas.microsoft.com/office/2006/documentManagement/types"/>
    <xsd:import namespace="http://schemas.microsoft.com/office/infopath/2007/PartnerControls"/>
    <xsd:element name="_x003e_" ma:index="8" nillable="true" ma:displayName="&gt;" ma:format="Dropdown" ma:internalName="_x003e_">
      <xsd:simpleType>
        <xsd:restriction base="dms:Choice">
          <xsd:enumeration value="Word templates (Mac)"/>
          <xsd:enumeration value="Word templates (Windows)"/>
          <xsd:enumeration value="Powerpoint templates (Mac)"/>
          <xsd:enumeration value="Powerpoint templates (Windows)"/>
          <xsd:enumeration value="Excel template"/>
          <xsd:enumeration value="Email signature guidance"/>
          <xsd:enumeration value="Brand shape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A45630A-4DB7-4518-AAA5-3CD36AE890DA}">
  <ds:schemaRefs>
    <ds:schemaRef ds:uri="58673743-dc10-4083-bb52-600a2f951d3c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B93422C-3A4E-4F4B-A8D8-26D0E0E27F4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72D2020-382E-433A-99D7-E34218E442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673743-dc10-4083-bb52-600a2f951d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iley-Corporate--Green-PC</Template>
  <TotalTime>0</TotalTime>
  <Words>1936</Words>
  <Application>Microsoft Office PowerPoint</Application>
  <PresentationFormat>Widescreen</PresentationFormat>
  <Paragraphs>259</Paragraphs>
  <Slides>3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9" baseType="lpstr">
      <vt:lpstr>Microsoft YaHei</vt:lpstr>
      <vt:lpstr>Microsoft YaHei</vt:lpstr>
      <vt:lpstr>Noto Sans CJK SC Regular</vt:lpstr>
      <vt:lpstr>华文楷体</vt:lpstr>
      <vt:lpstr>Arial</vt:lpstr>
      <vt:lpstr>Calibri</vt:lpstr>
      <vt:lpstr>Franklin Gothic Book</vt:lpstr>
      <vt:lpstr>Open Sans</vt:lpstr>
      <vt:lpstr>Open Sans Light</vt:lpstr>
      <vt:lpstr>Open Sans Semibold</vt:lpstr>
      <vt:lpstr>Source Serif Pro</vt:lpstr>
      <vt:lpstr>Wiley-Corporate--Green-PC</vt:lpstr>
      <vt:lpstr>Wiley高品质期刊助力科研创新与文章发表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iley/ Wiley Online Library简介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 付振平 Wiley产品与解决方案顾问 zfu@wiley.co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9-08T07:52:50Z</dcterms:created>
  <dcterms:modified xsi:type="dcterms:W3CDTF">2018-03-22T11:0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E35219FBB1C54EA08DAFD1023275AA</vt:lpwstr>
  </property>
</Properties>
</file>